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</p:sldMasterIdLst>
  <p:notesMasterIdLst>
    <p:notesMasterId r:id="rId43"/>
  </p:notesMasterIdLst>
  <p:sldIdLst>
    <p:sldId id="293" r:id="rId3"/>
    <p:sldId id="296" r:id="rId4"/>
    <p:sldId id="294" r:id="rId5"/>
    <p:sldId id="283" r:id="rId6"/>
    <p:sldId id="288" r:id="rId7"/>
    <p:sldId id="289" r:id="rId8"/>
    <p:sldId id="290" r:id="rId9"/>
    <p:sldId id="291" r:id="rId10"/>
    <p:sldId id="292" r:id="rId11"/>
    <p:sldId id="282" r:id="rId12"/>
    <p:sldId id="297" r:id="rId13"/>
    <p:sldId id="298" r:id="rId14"/>
    <p:sldId id="299" r:id="rId15"/>
    <p:sldId id="300" r:id="rId16"/>
    <p:sldId id="301" r:id="rId17"/>
    <p:sldId id="302" r:id="rId18"/>
    <p:sldId id="303" r:id="rId19"/>
    <p:sldId id="264" r:id="rId20"/>
    <p:sldId id="275" r:id="rId21"/>
    <p:sldId id="284" r:id="rId22"/>
    <p:sldId id="277" r:id="rId23"/>
    <p:sldId id="278" r:id="rId24"/>
    <p:sldId id="279" r:id="rId25"/>
    <p:sldId id="280" r:id="rId26"/>
    <p:sldId id="259" r:id="rId27"/>
    <p:sldId id="258" r:id="rId28"/>
    <p:sldId id="260" r:id="rId29"/>
    <p:sldId id="261" r:id="rId30"/>
    <p:sldId id="262" r:id="rId31"/>
    <p:sldId id="265" r:id="rId32"/>
    <p:sldId id="263" r:id="rId33"/>
    <p:sldId id="266" r:id="rId34"/>
    <p:sldId id="274" r:id="rId35"/>
    <p:sldId id="270" r:id="rId36"/>
    <p:sldId id="271" r:id="rId37"/>
    <p:sldId id="272" r:id="rId38"/>
    <p:sldId id="273" r:id="rId39"/>
    <p:sldId id="286" r:id="rId40"/>
    <p:sldId id="285" r:id="rId41"/>
    <p:sldId id="281" r:id="rId4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7" d="100"/>
          <a:sy n="87" d="100"/>
        </p:scale>
        <p:origin x="528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1DB9A71-8020-3146-A655-2CD1537D0B2B}" type="doc">
      <dgm:prSet loTypeId="urn:microsoft.com/office/officeart/2005/8/layout/hProcess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0DBB10AC-6203-2043-BB9E-33702D5472E1}">
      <dgm:prSet phldrT="[文本]"/>
      <dgm:spPr/>
      <dgm:t>
        <a:bodyPr/>
        <a:lstStyle/>
        <a:p>
          <a:r>
            <a:rPr lang="zh-CN" altLang="en-US" dirty="0"/>
            <a:t>手工业</a:t>
          </a:r>
        </a:p>
      </dgm:t>
    </dgm:pt>
    <dgm:pt modelId="{7F278C70-7E80-A446-83DC-9A24E10B3FFC}" type="parTrans" cxnId="{00C89D02-0245-2749-A367-6F0CC1BDF129}">
      <dgm:prSet/>
      <dgm:spPr/>
      <dgm:t>
        <a:bodyPr/>
        <a:lstStyle/>
        <a:p>
          <a:endParaRPr lang="zh-CN" altLang="en-US"/>
        </a:p>
      </dgm:t>
    </dgm:pt>
    <dgm:pt modelId="{71BC4BA6-44CF-9046-88BB-20D0F790B736}" type="sibTrans" cxnId="{00C89D02-0245-2749-A367-6F0CC1BDF129}">
      <dgm:prSet/>
      <dgm:spPr/>
      <dgm:t>
        <a:bodyPr/>
        <a:lstStyle/>
        <a:p>
          <a:endParaRPr lang="zh-CN" altLang="en-US"/>
        </a:p>
      </dgm:t>
    </dgm:pt>
    <dgm:pt modelId="{B86848DC-6203-3C4C-B560-F376F5CD21CE}">
      <dgm:prSet phldrT="[文本]"/>
      <dgm:spPr/>
      <dgm:t>
        <a:bodyPr/>
        <a:lstStyle/>
        <a:p>
          <a:r>
            <a:rPr lang="zh-CN" altLang="en-US" dirty="0"/>
            <a:t>人工作业</a:t>
          </a:r>
        </a:p>
      </dgm:t>
    </dgm:pt>
    <dgm:pt modelId="{9ADEC33B-FA45-D646-A283-CD6DEB07D1BC}" type="parTrans" cxnId="{E8E3B574-AA5F-C14E-9A93-6FF067DEF780}">
      <dgm:prSet/>
      <dgm:spPr/>
      <dgm:t>
        <a:bodyPr/>
        <a:lstStyle/>
        <a:p>
          <a:endParaRPr lang="zh-CN" altLang="en-US"/>
        </a:p>
      </dgm:t>
    </dgm:pt>
    <dgm:pt modelId="{9918AC45-4A53-3B48-8B95-54C18AD4A443}" type="sibTrans" cxnId="{E8E3B574-AA5F-C14E-9A93-6FF067DEF780}">
      <dgm:prSet/>
      <dgm:spPr/>
      <dgm:t>
        <a:bodyPr/>
        <a:lstStyle/>
        <a:p>
          <a:endParaRPr lang="zh-CN" altLang="en-US"/>
        </a:p>
      </dgm:t>
    </dgm:pt>
    <dgm:pt modelId="{04B04255-9DE4-754A-ABE3-5444D194D96D}">
      <dgm:prSet phldrT="[文本]"/>
      <dgm:spPr/>
      <dgm:t>
        <a:bodyPr/>
        <a:lstStyle/>
        <a:p>
          <a:r>
            <a:rPr lang="zh-CN" altLang="en-US" dirty="0"/>
            <a:t>标准度差</a:t>
          </a:r>
        </a:p>
      </dgm:t>
    </dgm:pt>
    <dgm:pt modelId="{65B2C2B1-1E00-2749-A2CB-A180097F9B1A}" type="parTrans" cxnId="{BD5F7556-221E-B640-B3B2-01954E4B759E}">
      <dgm:prSet/>
      <dgm:spPr/>
      <dgm:t>
        <a:bodyPr/>
        <a:lstStyle/>
        <a:p>
          <a:endParaRPr lang="zh-CN" altLang="en-US"/>
        </a:p>
      </dgm:t>
    </dgm:pt>
    <dgm:pt modelId="{E4F52858-E58D-1C42-A172-76C8C38B00D4}" type="sibTrans" cxnId="{BD5F7556-221E-B640-B3B2-01954E4B759E}">
      <dgm:prSet/>
      <dgm:spPr/>
      <dgm:t>
        <a:bodyPr/>
        <a:lstStyle/>
        <a:p>
          <a:endParaRPr lang="zh-CN" altLang="en-US"/>
        </a:p>
      </dgm:t>
    </dgm:pt>
    <dgm:pt modelId="{F3096059-7C46-4441-BFA1-E8F7F1D2B2EF}">
      <dgm:prSet phldrT="[文本]"/>
      <dgm:spPr/>
      <dgm:t>
        <a:bodyPr/>
        <a:lstStyle/>
        <a:p>
          <a:r>
            <a:rPr lang="zh-CN" altLang="en-US" dirty="0"/>
            <a:t>机器大工业</a:t>
          </a:r>
        </a:p>
      </dgm:t>
    </dgm:pt>
    <dgm:pt modelId="{066FDF14-431B-2148-A6C6-4FEF8DEB6825}" type="parTrans" cxnId="{8AC5E113-56C8-D148-8DC1-31228CF62E44}">
      <dgm:prSet/>
      <dgm:spPr/>
      <dgm:t>
        <a:bodyPr/>
        <a:lstStyle/>
        <a:p>
          <a:endParaRPr lang="zh-CN" altLang="en-US"/>
        </a:p>
      </dgm:t>
    </dgm:pt>
    <dgm:pt modelId="{16D72BA0-BE05-D549-ABD6-78C8AE7AB792}" type="sibTrans" cxnId="{8AC5E113-56C8-D148-8DC1-31228CF62E44}">
      <dgm:prSet/>
      <dgm:spPr/>
      <dgm:t>
        <a:bodyPr/>
        <a:lstStyle/>
        <a:p>
          <a:endParaRPr lang="zh-CN" altLang="en-US"/>
        </a:p>
      </dgm:t>
    </dgm:pt>
    <dgm:pt modelId="{F89E8965-0BCB-BE4B-96D1-72FB3936CC5A}">
      <dgm:prSet phldrT="[文本]"/>
      <dgm:spPr/>
      <dgm:t>
        <a:bodyPr/>
        <a:lstStyle/>
        <a:p>
          <a:r>
            <a:rPr lang="zh-CN" altLang="en-US" dirty="0"/>
            <a:t>维护艰难</a:t>
          </a:r>
        </a:p>
      </dgm:t>
    </dgm:pt>
    <dgm:pt modelId="{3854FB78-55F6-154C-A110-A87CA5CAEA68}" type="parTrans" cxnId="{C5DB8B13-1333-8543-9325-412EA60AEF3E}">
      <dgm:prSet/>
      <dgm:spPr/>
      <dgm:t>
        <a:bodyPr/>
        <a:lstStyle/>
        <a:p>
          <a:endParaRPr lang="zh-CN" altLang="en-US"/>
        </a:p>
      </dgm:t>
    </dgm:pt>
    <dgm:pt modelId="{DB529CF7-7AB8-E347-9769-02B958CB52E6}" type="sibTrans" cxnId="{C5DB8B13-1333-8543-9325-412EA60AEF3E}">
      <dgm:prSet/>
      <dgm:spPr/>
      <dgm:t>
        <a:bodyPr/>
        <a:lstStyle/>
        <a:p>
          <a:endParaRPr lang="zh-CN" altLang="en-US"/>
        </a:p>
      </dgm:t>
    </dgm:pt>
    <dgm:pt modelId="{3CF9887A-1D6B-5449-B5F7-31EB0E8D6048}">
      <dgm:prSet phldrT="[文本]"/>
      <dgm:spPr/>
      <dgm:t>
        <a:bodyPr/>
        <a:lstStyle/>
        <a:p>
          <a:r>
            <a:rPr lang="zh-CN" altLang="en-US" dirty="0"/>
            <a:t>智能工业</a:t>
          </a:r>
        </a:p>
      </dgm:t>
    </dgm:pt>
    <dgm:pt modelId="{B85CB4A5-CE47-2344-8704-C64B2A415812}" type="parTrans" cxnId="{3255E1DD-E3B6-1C4E-82CE-E2BACDF69259}">
      <dgm:prSet/>
      <dgm:spPr/>
      <dgm:t>
        <a:bodyPr/>
        <a:lstStyle/>
        <a:p>
          <a:endParaRPr lang="zh-CN" altLang="en-US"/>
        </a:p>
      </dgm:t>
    </dgm:pt>
    <dgm:pt modelId="{D5FC7E11-FE40-6B44-A447-520A0ACF09F8}" type="sibTrans" cxnId="{3255E1DD-E3B6-1C4E-82CE-E2BACDF69259}">
      <dgm:prSet/>
      <dgm:spPr/>
      <dgm:t>
        <a:bodyPr/>
        <a:lstStyle/>
        <a:p>
          <a:endParaRPr lang="zh-CN" altLang="en-US"/>
        </a:p>
      </dgm:t>
    </dgm:pt>
    <dgm:pt modelId="{266F2BB6-523E-324A-A411-A71948826F71}">
      <dgm:prSet phldrT="[文本]"/>
      <dgm:spPr/>
      <dgm:t>
        <a:bodyPr/>
        <a:lstStyle/>
        <a:p>
          <a:r>
            <a:rPr lang="zh-CN" altLang="en-US" dirty="0"/>
            <a:t>全方位协同</a:t>
          </a:r>
        </a:p>
      </dgm:t>
    </dgm:pt>
    <dgm:pt modelId="{6DFCBB71-8C32-2D4C-B22C-3A2242B27D6E}" type="parTrans" cxnId="{BF4D1810-5758-3E4E-A088-85D9CCAD6499}">
      <dgm:prSet/>
      <dgm:spPr/>
      <dgm:t>
        <a:bodyPr/>
        <a:lstStyle/>
        <a:p>
          <a:endParaRPr lang="zh-CN" altLang="en-US"/>
        </a:p>
      </dgm:t>
    </dgm:pt>
    <dgm:pt modelId="{45C08C2F-DEEE-3D48-B471-A3A68AF22FA9}" type="sibTrans" cxnId="{BF4D1810-5758-3E4E-A088-85D9CCAD6499}">
      <dgm:prSet/>
      <dgm:spPr/>
      <dgm:t>
        <a:bodyPr/>
        <a:lstStyle/>
        <a:p>
          <a:endParaRPr lang="zh-CN" altLang="en-US"/>
        </a:p>
      </dgm:t>
    </dgm:pt>
    <dgm:pt modelId="{3B4FBBDB-BFD5-9642-8699-9375D65B3AE0}">
      <dgm:prSet phldrT="[文本]"/>
      <dgm:spPr/>
      <dgm:t>
        <a:bodyPr/>
        <a:lstStyle/>
        <a:p>
          <a:r>
            <a:rPr lang="zh-CN" altLang="en-US" dirty="0"/>
            <a:t>抽象数据处理</a:t>
          </a:r>
        </a:p>
      </dgm:t>
    </dgm:pt>
    <dgm:pt modelId="{1DA7BCD3-1E6C-9344-A96D-25149E8B6B33}" type="sibTrans" cxnId="{0C49EDD4-B545-9141-AA42-2A327C7B0305}">
      <dgm:prSet/>
      <dgm:spPr/>
      <dgm:t>
        <a:bodyPr/>
        <a:lstStyle/>
        <a:p>
          <a:endParaRPr lang="zh-CN" altLang="en-US"/>
        </a:p>
      </dgm:t>
    </dgm:pt>
    <dgm:pt modelId="{C33A8916-1599-B84F-BCE1-E36E6A8666CE}" type="parTrans" cxnId="{0C49EDD4-B545-9141-AA42-2A327C7B0305}">
      <dgm:prSet/>
      <dgm:spPr/>
      <dgm:t>
        <a:bodyPr/>
        <a:lstStyle/>
        <a:p>
          <a:endParaRPr lang="zh-CN" altLang="en-US"/>
        </a:p>
      </dgm:t>
    </dgm:pt>
    <dgm:pt modelId="{2FEF89D4-95C0-494B-BD7E-6A2236417C26}">
      <dgm:prSet phldrT="[文本]"/>
      <dgm:spPr/>
      <dgm:t>
        <a:bodyPr/>
        <a:lstStyle/>
        <a:p>
          <a:r>
            <a:rPr lang="zh-CN" altLang="en-US" dirty="0"/>
            <a:t>组织力差</a:t>
          </a:r>
        </a:p>
      </dgm:t>
    </dgm:pt>
    <dgm:pt modelId="{C02C6C43-212E-6846-85F4-F8B253B82EA2}" type="sibTrans" cxnId="{EBFD0556-7653-5C44-ADE0-5FDDAA1E56AB}">
      <dgm:prSet/>
      <dgm:spPr/>
      <dgm:t>
        <a:bodyPr/>
        <a:lstStyle/>
        <a:p>
          <a:endParaRPr lang="zh-CN" altLang="en-US"/>
        </a:p>
      </dgm:t>
    </dgm:pt>
    <dgm:pt modelId="{2EADACD9-DAC9-004B-AB4A-9E4EB60ABEB9}" type="parTrans" cxnId="{EBFD0556-7653-5C44-ADE0-5FDDAA1E56AB}">
      <dgm:prSet/>
      <dgm:spPr/>
      <dgm:t>
        <a:bodyPr/>
        <a:lstStyle/>
        <a:p>
          <a:endParaRPr lang="zh-CN" altLang="en-US"/>
        </a:p>
      </dgm:t>
    </dgm:pt>
    <dgm:pt modelId="{909B1FE6-9690-E849-B2E4-BC5E96DD8AB0}" type="pres">
      <dgm:prSet presAssocID="{41DB9A71-8020-3146-A655-2CD1537D0B2B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A86724E4-6BB9-2745-9BD1-137BF43F1C85}" type="pres">
      <dgm:prSet presAssocID="{0DBB10AC-6203-2043-BB9E-33702D5472E1}" presName="compNode" presStyleCnt="0"/>
      <dgm:spPr/>
    </dgm:pt>
    <dgm:pt modelId="{5A20B60A-F479-C145-A14F-A3A666969191}" type="pres">
      <dgm:prSet presAssocID="{0DBB10AC-6203-2043-BB9E-33702D5472E1}" presName="noGeometry" presStyleCnt="0"/>
      <dgm:spPr/>
    </dgm:pt>
    <dgm:pt modelId="{DEE3BB9C-D60E-8547-B780-896E10C869B8}" type="pres">
      <dgm:prSet presAssocID="{0DBB10AC-6203-2043-BB9E-33702D5472E1}" presName="childTextVisible" presStyleLbl="b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1DE9F2B-9776-984A-921D-C550F99AC729}" type="pres">
      <dgm:prSet presAssocID="{0DBB10AC-6203-2043-BB9E-33702D5472E1}" presName="childTextHidden" presStyleLbl="bgAccFollowNode1" presStyleIdx="0" presStyleCnt="3"/>
      <dgm:spPr/>
      <dgm:t>
        <a:bodyPr/>
        <a:lstStyle/>
        <a:p>
          <a:endParaRPr lang="zh-CN" altLang="en-US"/>
        </a:p>
      </dgm:t>
    </dgm:pt>
    <dgm:pt modelId="{A3821DFB-8C57-8244-A3DF-A0F1FE822143}" type="pres">
      <dgm:prSet presAssocID="{0DBB10AC-6203-2043-BB9E-33702D5472E1}" presName="parentText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89C8725-040E-A343-8986-B38E95CEA2E2}" type="pres">
      <dgm:prSet presAssocID="{0DBB10AC-6203-2043-BB9E-33702D5472E1}" presName="aSpace" presStyleCnt="0"/>
      <dgm:spPr/>
    </dgm:pt>
    <dgm:pt modelId="{FEA3F403-0789-E748-B51F-DBC7FCD22C6B}" type="pres">
      <dgm:prSet presAssocID="{F3096059-7C46-4441-BFA1-E8F7F1D2B2EF}" presName="compNode" presStyleCnt="0"/>
      <dgm:spPr/>
    </dgm:pt>
    <dgm:pt modelId="{6806AAFF-1C84-7949-981B-DE9B04315D1C}" type="pres">
      <dgm:prSet presAssocID="{F3096059-7C46-4441-BFA1-E8F7F1D2B2EF}" presName="noGeometry" presStyleCnt="0"/>
      <dgm:spPr/>
    </dgm:pt>
    <dgm:pt modelId="{9930C6CB-5742-104E-A40D-7DC90E7E6515}" type="pres">
      <dgm:prSet presAssocID="{F3096059-7C46-4441-BFA1-E8F7F1D2B2EF}" presName="childTextVisible" presStyleLbl="b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8FFD99C-F74A-494B-9B45-EDD7446FF273}" type="pres">
      <dgm:prSet presAssocID="{F3096059-7C46-4441-BFA1-E8F7F1D2B2EF}" presName="childTextHidden" presStyleLbl="bgAccFollowNode1" presStyleIdx="1" presStyleCnt="3"/>
      <dgm:spPr/>
      <dgm:t>
        <a:bodyPr/>
        <a:lstStyle/>
        <a:p>
          <a:endParaRPr lang="zh-CN" altLang="en-US"/>
        </a:p>
      </dgm:t>
    </dgm:pt>
    <dgm:pt modelId="{043D4B85-2405-C241-8EAE-EB1FE857A368}" type="pres">
      <dgm:prSet presAssocID="{F3096059-7C46-4441-BFA1-E8F7F1D2B2EF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CFE0ECD-A87F-4140-8F94-18B15C8A32FB}" type="pres">
      <dgm:prSet presAssocID="{F3096059-7C46-4441-BFA1-E8F7F1D2B2EF}" presName="aSpace" presStyleCnt="0"/>
      <dgm:spPr/>
    </dgm:pt>
    <dgm:pt modelId="{DBF1369B-5A21-744D-82A9-D3A4DD24B427}" type="pres">
      <dgm:prSet presAssocID="{3CF9887A-1D6B-5449-B5F7-31EB0E8D6048}" presName="compNode" presStyleCnt="0"/>
      <dgm:spPr/>
    </dgm:pt>
    <dgm:pt modelId="{1BD3694D-AE0C-934A-A80F-608436782702}" type="pres">
      <dgm:prSet presAssocID="{3CF9887A-1D6B-5449-B5F7-31EB0E8D6048}" presName="noGeometry" presStyleCnt="0"/>
      <dgm:spPr/>
    </dgm:pt>
    <dgm:pt modelId="{0E588085-71D0-DB44-9215-6BCADC460760}" type="pres">
      <dgm:prSet presAssocID="{3CF9887A-1D6B-5449-B5F7-31EB0E8D6048}" presName="childTextVisible" presStyleLbl="b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2A94009-3B6F-7346-869C-FA6F50081B16}" type="pres">
      <dgm:prSet presAssocID="{3CF9887A-1D6B-5449-B5F7-31EB0E8D6048}" presName="childTextHidden" presStyleLbl="bgAccFollowNode1" presStyleIdx="2" presStyleCnt="3"/>
      <dgm:spPr/>
      <dgm:t>
        <a:bodyPr/>
        <a:lstStyle/>
        <a:p>
          <a:endParaRPr lang="zh-CN" altLang="en-US"/>
        </a:p>
      </dgm:t>
    </dgm:pt>
    <dgm:pt modelId="{DE21574A-6D39-C747-B2F5-2DBAEE241BD1}" type="pres">
      <dgm:prSet presAssocID="{3CF9887A-1D6B-5449-B5F7-31EB0E8D6048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BF4D1810-5758-3E4E-A088-85D9CCAD6499}" srcId="{3CF9887A-1D6B-5449-B5F7-31EB0E8D6048}" destId="{266F2BB6-523E-324A-A411-A71948826F71}" srcOrd="0" destOrd="0" parTransId="{6DFCBB71-8C32-2D4C-B22C-3A2242B27D6E}" sibTransId="{45C08C2F-DEEE-3D48-B471-A3A68AF22FA9}"/>
    <dgm:cxn modelId="{1A3B6B2E-E5F3-9044-A207-F002D4FA5998}" type="presOf" srcId="{2FEF89D4-95C0-494B-BD7E-6A2236417C26}" destId="{9930C6CB-5742-104E-A40D-7DC90E7E6515}" srcOrd="0" destOrd="0" presId="urn:microsoft.com/office/officeart/2005/8/layout/hProcess6"/>
    <dgm:cxn modelId="{AA58A83F-C735-6C43-883A-A121DD52858A}" type="presOf" srcId="{3B4FBBDB-BFD5-9642-8699-9375D65B3AE0}" destId="{0E588085-71D0-DB44-9215-6BCADC460760}" srcOrd="0" destOrd="1" presId="urn:microsoft.com/office/officeart/2005/8/layout/hProcess6"/>
    <dgm:cxn modelId="{6EEE4AB3-8A19-7A4D-B277-FA3B4B741F5D}" type="presOf" srcId="{B86848DC-6203-3C4C-B560-F376F5CD21CE}" destId="{B1DE9F2B-9776-984A-921D-C550F99AC729}" srcOrd="1" destOrd="0" presId="urn:microsoft.com/office/officeart/2005/8/layout/hProcess6"/>
    <dgm:cxn modelId="{433DEF56-AEEE-8A43-A1BE-ADE3DF34A4DA}" type="presOf" srcId="{266F2BB6-523E-324A-A411-A71948826F71}" destId="{C2A94009-3B6F-7346-869C-FA6F50081B16}" srcOrd="1" destOrd="0" presId="urn:microsoft.com/office/officeart/2005/8/layout/hProcess6"/>
    <dgm:cxn modelId="{4E373129-1E82-AA48-A8F8-552BD83B9B7E}" type="presOf" srcId="{2FEF89D4-95C0-494B-BD7E-6A2236417C26}" destId="{08FFD99C-F74A-494B-9B45-EDD7446FF273}" srcOrd="1" destOrd="0" presId="urn:microsoft.com/office/officeart/2005/8/layout/hProcess6"/>
    <dgm:cxn modelId="{260144D8-9905-C347-A3D4-D893C51BC4B1}" type="presOf" srcId="{3CF9887A-1D6B-5449-B5F7-31EB0E8D6048}" destId="{DE21574A-6D39-C747-B2F5-2DBAEE241BD1}" srcOrd="0" destOrd="0" presId="urn:microsoft.com/office/officeart/2005/8/layout/hProcess6"/>
    <dgm:cxn modelId="{E8E3B574-AA5F-C14E-9A93-6FF067DEF780}" srcId="{0DBB10AC-6203-2043-BB9E-33702D5472E1}" destId="{B86848DC-6203-3C4C-B560-F376F5CD21CE}" srcOrd="0" destOrd="0" parTransId="{9ADEC33B-FA45-D646-A283-CD6DEB07D1BC}" sibTransId="{9918AC45-4A53-3B48-8B95-54C18AD4A443}"/>
    <dgm:cxn modelId="{2235C1F7-ECFA-3540-8184-532D0F254DCF}" type="presOf" srcId="{41DB9A71-8020-3146-A655-2CD1537D0B2B}" destId="{909B1FE6-9690-E849-B2E4-BC5E96DD8AB0}" srcOrd="0" destOrd="0" presId="urn:microsoft.com/office/officeart/2005/8/layout/hProcess6"/>
    <dgm:cxn modelId="{515F3B22-9662-3C44-98E5-CC37E154DB72}" type="presOf" srcId="{F89E8965-0BCB-BE4B-96D1-72FB3936CC5A}" destId="{08FFD99C-F74A-494B-9B45-EDD7446FF273}" srcOrd="1" destOrd="1" presId="urn:microsoft.com/office/officeart/2005/8/layout/hProcess6"/>
    <dgm:cxn modelId="{0C49EDD4-B545-9141-AA42-2A327C7B0305}" srcId="{3CF9887A-1D6B-5449-B5F7-31EB0E8D6048}" destId="{3B4FBBDB-BFD5-9642-8699-9375D65B3AE0}" srcOrd="1" destOrd="0" parTransId="{C33A8916-1599-B84F-BCE1-E36E6A8666CE}" sibTransId="{1DA7BCD3-1E6C-9344-A96D-25149E8B6B33}"/>
    <dgm:cxn modelId="{1B470825-0957-D641-A9E7-B7F94CDCF042}" type="presOf" srcId="{B86848DC-6203-3C4C-B560-F376F5CD21CE}" destId="{DEE3BB9C-D60E-8547-B780-896E10C869B8}" srcOrd="0" destOrd="0" presId="urn:microsoft.com/office/officeart/2005/8/layout/hProcess6"/>
    <dgm:cxn modelId="{E14723F4-576A-C848-AB96-3BB73F485BE0}" type="presOf" srcId="{04B04255-9DE4-754A-ABE3-5444D194D96D}" destId="{DEE3BB9C-D60E-8547-B780-896E10C869B8}" srcOrd="0" destOrd="1" presId="urn:microsoft.com/office/officeart/2005/8/layout/hProcess6"/>
    <dgm:cxn modelId="{BD5F7556-221E-B640-B3B2-01954E4B759E}" srcId="{0DBB10AC-6203-2043-BB9E-33702D5472E1}" destId="{04B04255-9DE4-754A-ABE3-5444D194D96D}" srcOrd="1" destOrd="0" parTransId="{65B2C2B1-1E00-2749-A2CB-A180097F9B1A}" sibTransId="{E4F52858-E58D-1C42-A172-76C8C38B00D4}"/>
    <dgm:cxn modelId="{0750558D-72A0-DA48-88CA-6C353A7F1633}" type="presOf" srcId="{0DBB10AC-6203-2043-BB9E-33702D5472E1}" destId="{A3821DFB-8C57-8244-A3DF-A0F1FE822143}" srcOrd="0" destOrd="0" presId="urn:microsoft.com/office/officeart/2005/8/layout/hProcess6"/>
    <dgm:cxn modelId="{00C89D02-0245-2749-A367-6F0CC1BDF129}" srcId="{41DB9A71-8020-3146-A655-2CD1537D0B2B}" destId="{0DBB10AC-6203-2043-BB9E-33702D5472E1}" srcOrd="0" destOrd="0" parTransId="{7F278C70-7E80-A446-83DC-9A24E10B3FFC}" sibTransId="{71BC4BA6-44CF-9046-88BB-20D0F790B736}"/>
    <dgm:cxn modelId="{915414B0-3817-5C41-A1E1-10A5AEC22376}" type="presOf" srcId="{3B4FBBDB-BFD5-9642-8699-9375D65B3AE0}" destId="{C2A94009-3B6F-7346-869C-FA6F50081B16}" srcOrd="1" destOrd="1" presId="urn:microsoft.com/office/officeart/2005/8/layout/hProcess6"/>
    <dgm:cxn modelId="{8AC5E113-56C8-D148-8DC1-31228CF62E44}" srcId="{41DB9A71-8020-3146-A655-2CD1537D0B2B}" destId="{F3096059-7C46-4441-BFA1-E8F7F1D2B2EF}" srcOrd="1" destOrd="0" parTransId="{066FDF14-431B-2148-A6C6-4FEF8DEB6825}" sibTransId="{16D72BA0-BE05-D549-ABD6-78C8AE7AB792}"/>
    <dgm:cxn modelId="{C5DB8B13-1333-8543-9325-412EA60AEF3E}" srcId="{F3096059-7C46-4441-BFA1-E8F7F1D2B2EF}" destId="{F89E8965-0BCB-BE4B-96D1-72FB3936CC5A}" srcOrd="1" destOrd="0" parTransId="{3854FB78-55F6-154C-A110-A87CA5CAEA68}" sibTransId="{DB529CF7-7AB8-E347-9769-02B958CB52E6}"/>
    <dgm:cxn modelId="{8F853B22-6125-AC48-AB9A-0BADCB32B57A}" type="presOf" srcId="{F89E8965-0BCB-BE4B-96D1-72FB3936CC5A}" destId="{9930C6CB-5742-104E-A40D-7DC90E7E6515}" srcOrd="0" destOrd="1" presId="urn:microsoft.com/office/officeart/2005/8/layout/hProcess6"/>
    <dgm:cxn modelId="{23703CD8-E27F-FF46-B912-53E5C99C1AB6}" type="presOf" srcId="{266F2BB6-523E-324A-A411-A71948826F71}" destId="{0E588085-71D0-DB44-9215-6BCADC460760}" srcOrd="0" destOrd="0" presId="urn:microsoft.com/office/officeart/2005/8/layout/hProcess6"/>
    <dgm:cxn modelId="{3255E1DD-E3B6-1C4E-82CE-E2BACDF69259}" srcId="{41DB9A71-8020-3146-A655-2CD1537D0B2B}" destId="{3CF9887A-1D6B-5449-B5F7-31EB0E8D6048}" srcOrd="2" destOrd="0" parTransId="{B85CB4A5-CE47-2344-8704-C64B2A415812}" sibTransId="{D5FC7E11-FE40-6B44-A447-520A0ACF09F8}"/>
    <dgm:cxn modelId="{6ECE406C-7E36-8C4A-85CC-F54BB20B549C}" type="presOf" srcId="{04B04255-9DE4-754A-ABE3-5444D194D96D}" destId="{B1DE9F2B-9776-984A-921D-C550F99AC729}" srcOrd="1" destOrd="1" presId="urn:microsoft.com/office/officeart/2005/8/layout/hProcess6"/>
    <dgm:cxn modelId="{EBFD0556-7653-5C44-ADE0-5FDDAA1E56AB}" srcId="{F3096059-7C46-4441-BFA1-E8F7F1D2B2EF}" destId="{2FEF89D4-95C0-494B-BD7E-6A2236417C26}" srcOrd="0" destOrd="0" parTransId="{2EADACD9-DAC9-004B-AB4A-9E4EB60ABEB9}" sibTransId="{C02C6C43-212E-6846-85F4-F8B253B82EA2}"/>
    <dgm:cxn modelId="{710AB0FF-43BF-DF4C-AA27-8236F35C9671}" type="presOf" srcId="{F3096059-7C46-4441-BFA1-E8F7F1D2B2EF}" destId="{043D4B85-2405-C241-8EAE-EB1FE857A368}" srcOrd="0" destOrd="0" presId="urn:microsoft.com/office/officeart/2005/8/layout/hProcess6"/>
    <dgm:cxn modelId="{AF028503-D778-ED4A-934F-897B0CFC5578}" type="presParOf" srcId="{909B1FE6-9690-E849-B2E4-BC5E96DD8AB0}" destId="{A86724E4-6BB9-2745-9BD1-137BF43F1C85}" srcOrd="0" destOrd="0" presId="urn:microsoft.com/office/officeart/2005/8/layout/hProcess6"/>
    <dgm:cxn modelId="{5C5790AF-C356-E946-87DF-87E09CF50722}" type="presParOf" srcId="{A86724E4-6BB9-2745-9BD1-137BF43F1C85}" destId="{5A20B60A-F479-C145-A14F-A3A666969191}" srcOrd="0" destOrd="0" presId="urn:microsoft.com/office/officeart/2005/8/layout/hProcess6"/>
    <dgm:cxn modelId="{CE2DA30A-B7BA-4B4E-ACC2-6859182C10CC}" type="presParOf" srcId="{A86724E4-6BB9-2745-9BD1-137BF43F1C85}" destId="{DEE3BB9C-D60E-8547-B780-896E10C869B8}" srcOrd="1" destOrd="0" presId="urn:microsoft.com/office/officeart/2005/8/layout/hProcess6"/>
    <dgm:cxn modelId="{26F82625-0D2C-5247-95A5-0B74DCA0B2F3}" type="presParOf" srcId="{A86724E4-6BB9-2745-9BD1-137BF43F1C85}" destId="{B1DE9F2B-9776-984A-921D-C550F99AC729}" srcOrd="2" destOrd="0" presId="urn:microsoft.com/office/officeart/2005/8/layout/hProcess6"/>
    <dgm:cxn modelId="{C9AE8459-EF30-3F48-A678-267E44B06F81}" type="presParOf" srcId="{A86724E4-6BB9-2745-9BD1-137BF43F1C85}" destId="{A3821DFB-8C57-8244-A3DF-A0F1FE822143}" srcOrd="3" destOrd="0" presId="urn:microsoft.com/office/officeart/2005/8/layout/hProcess6"/>
    <dgm:cxn modelId="{C4A790AF-8319-3E4E-BEE4-3369CB5D5B21}" type="presParOf" srcId="{909B1FE6-9690-E849-B2E4-BC5E96DD8AB0}" destId="{A89C8725-040E-A343-8986-B38E95CEA2E2}" srcOrd="1" destOrd="0" presId="urn:microsoft.com/office/officeart/2005/8/layout/hProcess6"/>
    <dgm:cxn modelId="{18E6A218-49DF-C54C-8296-0592A3785FE3}" type="presParOf" srcId="{909B1FE6-9690-E849-B2E4-BC5E96DD8AB0}" destId="{FEA3F403-0789-E748-B51F-DBC7FCD22C6B}" srcOrd="2" destOrd="0" presId="urn:microsoft.com/office/officeart/2005/8/layout/hProcess6"/>
    <dgm:cxn modelId="{B0139B96-D8DB-D64B-9454-9E443677E97E}" type="presParOf" srcId="{FEA3F403-0789-E748-B51F-DBC7FCD22C6B}" destId="{6806AAFF-1C84-7949-981B-DE9B04315D1C}" srcOrd="0" destOrd="0" presId="urn:microsoft.com/office/officeart/2005/8/layout/hProcess6"/>
    <dgm:cxn modelId="{AC5E8BA0-3187-634E-94F0-826CA99823B9}" type="presParOf" srcId="{FEA3F403-0789-E748-B51F-DBC7FCD22C6B}" destId="{9930C6CB-5742-104E-A40D-7DC90E7E6515}" srcOrd="1" destOrd="0" presId="urn:microsoft.com/office/officeart/2005/8/layout/hProcess6"/>
    <dgm:cxn modelId="{38972376-592E-A343-94C3-783E6B84D60A}" type="presParOf" srcId="{FEA3F403-0789-E748-B51F-DBC7FCD22C6B}" destId="{08FFD99C-F74A-494B-9B45-EDD7446FF273}" srcOrd="2" destOrd="0" presId="urn:microsoft.com/office/officeart/2005/8/layout/hProcess6"/>
    <dgm:cxn modelId="{45A8B122-9C48-0146-B070-BDDD4D35EDE5}" type="presParOf" srcId="{FEA3F403-0789-E748-B51F-DBC7FCD22C6B}" destId="{043D4B85-2405-C241-8EAE-EB1FE857A368}" srcOrd="3" destOrd="0" presId="urn:microsoft.com/office/officeart/2005/8/layout/hProcess6"/>
    <dgm:cxn modelId="{59BAEFB7-38A2-CB4C-A08C-BFA97FE2FA07}" type="presParOf" srcId="{909B1FE6-9690-E849-B2E4-BC5E96DD8AB0}" destId="{3CFE0ECD-A87F-4140-8F94-18B15C8A32FB}" srcOrd="3" destOrd="0" presId="urn:microsoft.com/office/officeart/2005/8/layout/hProcess6"/>
    <dgm:cxn modelId="{13E83845-554C-DD43-9D7C-09A36CE22E61}" type="presParOf" srcId="{909B1FE6-9690-E849-B2E4-BC5E96DD8AB0}" destId="{DBF1369B-5A21-744D-82A9-D3A4DD24B427}" srcOrd="4" destOrd="0" presId="urn:microsoft.com/office/officeart/2005/8/layout/hProcess6"/>
    <dgm:cxn modelId="{7420EEF1-266A-9049-9F7B-B4B7D79043FF}" type="presParOf" srcId="{DBF1369B-5A21-744D-82A9-D3A4DD24B427}" destId="{1BD3694D-AE0C-934A-A80F-608436782702}" srcOrd="0" destOrd="0" presId="urn:microsoft.com/office/officeart/2005/8/layout/hProcess6"/>
    <dgm:cxn modelId="{C943F65B-9428-6C4B-BDA3-2462EA51A737}" type="presParOf" srcId="{DBF1369B-5A21-744D-82A9-D3A4DD24B427}" destId="{0E588085-71D0-DB44-9215-6BCADC460760}" srcOrd="1" destOrd="0" presId="urn:microsoft.com/office/officeart/2005/8/layout/hProcess6"/>
    <dgm:cxn modelId="{8434DD3C-CEDC-C44F-BA99-E35824B85A08}" type="presParOf" srcId="{DBF1369B-5A21-744D-82A9-D3A4DD24B427}" destId="{C2A94009-3B6F-7346-869C-FA6F50081B16}" srcOrd="2" destOrd="0" presId="urn:microsoft.com/office/officeart/2005/8/layout/hProcess6"/>
    <dgm:cxn modelId="{7075F5B3-B412-BB46-A8E1-11F5D73C1DE8}" type="presParOf" srcId="{DBF1369B-5A21-744D-82A9-D3A4DD24B427}" destId="{DE21574A-6D39-C747-B2F5-2DBAEE241BD1}" srcOrd="3" destOrd="0" presId="urn:microsoft.com/office/officeart/2005/8/layout/hProcess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EE56389-5F37-40B8-95A3-427E701A9F6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CEEAE2D8-D198-41A6-A619-AB278C5B1400}">
      <dgm:prSet phldrT="[文本]"/>
      <dgm:spPr/>
      <dgm:t>
        <a:bodyPr/>
        <a:lstStyle/>
        <a:p>
          <a:r>
            <a:rPr lang="zh-CN" altLang="en-US" dirty="0"/>
            <a:t>第一批</a:t>
          </a:r>
        </a:p>
      </dgm:t>
    </dgm:pt>
    <dgm:pt modelId="{9204FB68-B686-4A31-A27D-7507CEB5CC9D}" type="parTrans" cxnId="{415D4827-41F5-4BC5-8621-932B216D935E}">
      <dgm:prSet/>
      <dgm:spPr/>
      <dgm:t>
        <a:bodyPr/>
        <a:lstStyle/>
        <a:p>
          <a:endParaRPr lang="zh-CN" altLang="en-US"/>
        </a:p>
      </dgm:t>
    </dgm:pt>
    <dgm:pt modelId="{D4B53A37-C45B-4B87-B1AE-BD02DD7A80D8}" type="sibTrans" cxnId="{415D4827-41F5-4BC5-8621-932B216D935E}">
      <dgm:prSet/>
      <dgm:spPr/>
      <dgm:t>
        <a:bodyPr/>
        <a:lstStyle/>
        <a:p>
          <a:endParaRPr lang="zh-CN" altLang="en-US"/>
        </a:p>
      </dgm:t>
    </dgm:pt>
    <dgm:pt modelId="{BC34ECB6-2A94-4D99-98D5-DB183D6F6F04}">
      <dgm:prSet phldrT="[文本]"/>
      <dgm:spPr/>
      <dgm:t>
        <a:bodyPr/>
        <a:lstStyle/>
        <a:p>
          <a:r>
            <a:rPr lang="zh-CN" altLang="en-US" dirty="0"/>
            <a:t>沿用既有班级，以班为单位划分任务，班级内部进行职能划分。</a:t>
          </a:r>
        </a:p>
      </dgm:t>
    </dgm:pt>
    <dgm:pt modelId="{8FC49995-D610-4BD6-B65E-7F60CD8457FB}" type="parTrans" cxnId="{5CFC2029-ACFB-4CCD-A739-C98D28E31A9F}">
      <dgm:prSet/>
      <dgm:spPr/>
      <dgm:t>
        <a:bodyPr/>
        <a:lstStyle/>
        <a:p>
          <a:endParaRPr lang="zh-CN" altLang="en-US"/>
        </a:p>
      </dgm:t>
    </dgm:pt>
    <dgm:pt modelId="{2B498F39-27F6-47A9-B010-FBBD8A758A6F}" type="sibTrans" cxnId="{5CFC2029-ACFB-4CCD-A739-C98D28E31A9F}">
      <dgm:prSet/>
      <dgm:spPr/>
      <dgm:t>
        <a:bodyPr/>
        <a:lstStyle/>
        <a:p>
          <a:endParaRPr lang="zh-CN" altLang="en-US"/>
        </a:p>
      </dgm:t>
    </dgm:pt>
    <dgm:pt modelId="{FF730C2A-221D-4333-A904-AB5894063589}">
      <dgm:prSet phldrT="[文本]"/>
      <dgm:spPr/>
      <dgm:t>
        <a:bodyPr/>
        <a:lstStyle/>
        <a:p>
          <a:r>
            <a:rPr lang="zh-CN" altLang="en-US" dirty="0"/>
            <a:t>第二批</a:t>
          </a:r>
        </a:p>
      </dgm:t>
    </dgm:pt>
    <dgm:pt modelId="{CDB91484-2FC0-4B84-9EA4-3952594EC227}" type="parTrans" cxnId="{D7771F72-4306-4BFC-A638-59CD48616A14}">
      <dgm:prSet/>
      <dgm:spPr/>
      <dgm:t>
        <a:bodyPr/>
        <a:lstStyle/>
        <a:p>
          <a:endParaRPr lang="zh-CN" altLang="en-US"/>
        </a:p>
      </dgm:t>
    </dgm:pt>
    <dgm:pt modelId="{255A6BD6-08BC-4063-B568-1641955D9DB0}" type="sibTrans" cxnId="{D7771F72-4306-4BFC-A638-59CD48616A14}">
      <dgm:prSet/>
      <dgm:spPr/>
      <dgm:t>
        <a:bodyPr/>
        <a:lstStyle/>
        <a:p>
          <a:endParaRPr lang="zh-CN" altLang="en-US"/>
        </a:p>
      </dgm:t>
    </dgm:pt>
    <dgm:pt modelId="{5B2367C3-6D70-4252-8013-59E8C9B5F860}">
      <dgm:prSet phldrT="[文本]"/>
      <dgm:spPr/>
      <dgm:t>
        <a:bodyPr/>
        <a:lstStyle/>
        <a:p>
          <a:r>
            <a:rPr lang="zh-CN" altLang="en-US" dirty="0"/>
            <a:t>打破以既有班级为单位，以职能划分为单位进行分组。保留原班级的行政效力。</a:t>
          </a:r>
        </a:p>
      </dgm:t>
    </dgm:pt>
    <dgm:pt modelId="{FD61D4BE-5C03-4984-B1B0-57DEA53A6931}" type="parTrans" cxnId="{B5054630-2C26-4688-8C21-CFBE50F83DA7}">
      <dgm:prSet/>
      <dgm:spPr/>
      <dgm:t>
        <a:bodyPr/>
        <a:lstStyle/>
        <a:p>
          <a:endParaRPr lang="zh-CN" altLang="en-US"/>
        </a:p>
      </dgm:t>
    </dgm:pt>
    <dgm:pt modelId="{E00D7495-2B95-4169-8C40-253843C83EC6}" type="sibTrans" cxnId="{B5054630-2C26-4688-8C21-CFBE50F83DA7}">
      <dgm:prSet/>
      <dgm:spPr/>
      <dgm:t>
        <a:bodyPr/>
        <a:lstStyle/>
        <a:p>
          <a:endParaRPr lang="zh-CN" altLang="en-US"/>
        </a:p>
      </dgm:t>
    </dgm:pt>
    <dgm:pt modelId="{0F2EA64F-B408-416C-8C20-67601D71C9F0}">
      <dgm:prSet phldrT="[文本]"/>
      <dgm:spPr/>
      <dgm:t>
        <a:bodyPr/>
        <a:lstStyle/>
        <a:p>
          <a:endParaRPr lang="zh-CN" altLang="en-US" dirty="0"/>
        </a:p>
      </dgm:t>
    </dgm:pt>
    <dgm:pt modelId="{10C6656C-D9A6-42F3-B945-8EE0A45051A5}" type="parTrans" cxnId="{6639A1EE-2DB4-42C3-A019-2F9BF09ED791}">
      <dgm:prSet/>
      <dgm:spPr/>
      <dgm:t>
        <a:bodyPr/>
        <a:lstStyle/>
        <a:p>
          <a:endParaRPr lang="zh-CN" altLang="en-US"/>
        </a:p>
      </dgm:t>
    </dgm:pt>
    <dgm:pt modelId="{F7CE8F51-4FA8-4DF5-9711-9E7D5248C2F6}" type="sibTrans" cxnId="{6639A1EE-2DB4-42C3-A019-2F9BF09ED791}">
      <dgm:prSet/>
      <dgm:spPr/>
      <dgm:t>
        <a:bodyPr/>
        <a:lstStyle/>
        <a:p>
          <a:endParaRPr lang="zh-CN" altLang="en-US"/>
        </a:p>
      </dgm:t>
    </dgm:pt>
    <dgm:pt modelId="{1A4A41F6-2E3E-4F8F-A3A2-4997951566C7}">
      <dgm:prSet phldrT="[文本]"/>
      <dgm:spPr/>
      <dgm:t>
        <a:bodyPr/>
        <a:lstStyle/>
        <a:p>
          <a:r>
            <a:rPr lang="zh-CN" altLang="en-US" dirty="0"/>
            <a:t>第三批</a:t>
          </a:r>
        </a:p>
      </dgm:t>
    </dgm:pt>
    <dgm:pt modelId="{05CFD715-88EB-496A-8C78-C461D23B368C}" type="parTrans" cxnId="{B03933D5-B2DF-4082-90D1-7261656C7C9E}">
      <dgm:prSet/>
      <dgm:spPr/>
      <dgm:t>
        <a:bodyPr/>
        <a:lstStyle/>
        <a:p>
          <a:endParaRPr lang="zh-CN" altLang="en-US"/>
        </a:p>
      </dgm:t>
    </dgm:pt>
    <dgm:pt modelId="{BFBD7B38-64CE-446F-86F2-475CD25E2B57}" type="sibTrans" cxnId="{B03933D5-B2DF-4082-90D1-7261656C7C9E}">
      <dgm:prSet/>
      <dgm:spPr/>
      <dgm:t>
        <a:bodyPr/>
        <a:lstStyle/>
        <a:p>
          <a:endParaRPr lang="zh-CN" altLang="en-US"/>
        </a:p>
      </dgm:t>
    </dgm:pt>
    <dgm:pt modelId="{A1568DDC-44C6-4D41-988A-5ED8114CD891}">
      <dgm:prSet phldrT="[文本]"/>
      <dgm:spPr/>
      <dgm:t>
        <a:bodyPr/>
        <a:lstStyle/>
        <a:p>
          <a:r>
            <a:rPr lang="zh-CN" altLang="en-US" dirty="0"/>
            <a:t>回归以班级为单位的任务组，班级内部形成职能小组。</a:t>
          </a:r>
        </a:p>
      </dgm:t>
    </dgm:pt>
    <dgm:pt modelId="{7C769489-D429-4401-8DFB-4FE9C6912615}" type="parTrans" cxnId="{BF3C4186-6025-49D4-9447-4D41330FA99D}">
      <dgm:prSet/>
      <dgm:spPr/>
      <dgm:t>
        <a:bodyPr/>
        <a:lstStyle/>
        <a:p>
          <a:endParaRPr lang="zh-CN" altLang="en-US"/>
        </a:p>
      </dgm:t>
    </dgm:pt>
    <dgm:pt modelId="{7588D027-B85A-4E29-B2D7-F639AD74E4EE}" type="sibTrans" cxnId="{BF3C4186-6025-49D4-9447-4D41330FA99D}">
      <dgm:prSet/>
      <dgm:spPr/>
      <dgm:t>
        <a:bodyPr/>
        <a:lstStyle/>
        <a:p>
          <a:endParaRPr lang="zh-CN" altLang="en-US"/>
        </a:p>
      </dgm:t>
    </dgm:pt>
    <dgm:pt modelId="{853AF550-01BF-4BCD-8BA1-01C5F29E7668}">
      <dgm:prSet phldrT="[文本]"/>
      <dgm:spPr/>
      <dgm:t>
        <a:bodyPr/>
        <a:lstStyle/>
        <a:p>
          <a:r>
            <a:rPr lang="zh-CN" altLang="en-US" dirty="0"/>
            <a:t>第二天组织陷入失序状态</a:t>
          </a:r>
        </a:p>
      </dgm:t>
    </dgm:pt>
    <dgm:pt modelId="{611ED95B-9863-483F-BA0B-3FC07DEBE1B2}" type="parTrans" cxnId="{57095229-9F2E-4AA2-9FAD-14274678B5DF}">
      <dgm:prSet/>
      <dgm:spPr/>
      <dgm:t>
        <a:bodyPr/>
        <a:lstStyle/>
        <a:p>
          <a:endParaRPr lang="zh-CN" altLang="en-US"/>
        </a:p>
      </dgm:t>
    </dgm:pt>
    <dgm:pt modelId="{87AFD43E-AAD9-448A-BFF0-ACA0F9094180}" type="sibTrans" cxnId="{57095229-9F2E-4AA2-9FAD-14274678B5DF}">
      <dgm:prSet/>
      <dgm:spPr/>
      <dgm:t>
        <a:bodyPr/>
        <a:lstStyle/>
        <a:p>
          <a:endParaRPr lang="zh-CN" altLang="en-US"/>
        </a:p>
      </dgm:t>
    </dgm:pt>
    <dgm:pt modelId="{C11CB864-866E-4CF3-908A-B761842B2375}">
      <dgm:prSet phldrT="[文本]"/>
      <dgm:spPr/>
      <dgm:t>
        <a:bodyPr/>
        <a:lstStyle/>
        <a:p>
          <a:r>
            <a:rPr lang="zh-CN" altLang="en-US" dirty="0"/>
            <a:t>单独形成批次间贯穿组，指派专人进行批次间信息传递。</a:t>
          </a:r>
        </a:p>
      </dgm:t>
    </dgm:pt>
    <dgm:pt modelId="{DAD75D5B-B469-4EC1-AFEF-BC1BD53343DD}" type="parTrans" cxnId="{5786EB42-9FBB-42DC-84B1-64DDC316F3A1}">
      <dgm:prSet/>
      <dgm:spPr/>
      <dgm:t>
        <a:bodyPr/>
        <a:lstStyle/>
        <a:p>
          <a:endParaRPr lang="zh-CN" altLang="en-US"/>
        </a:p>
      </dgm:t>
    </dgm:pt>
    <dgm:pt modelId="{512DE7E5-A157-4FC8-9A68-6F0CD3890026}" type="sibTrans" cxnId="{5786EB42-9FBB-42DC-84B1-64DDC316F3A1}">
      <dgm:prSet/>
      <dgm:spPr/>
      <dgm:t>
        <a:bodyPr/>
        <a:lstStyle/>
        <a:p>
          <a:endParaRPr lang="zh-CN" altLang="en-US"/>
        </a:p>
      </dgm:t>
    </dgm:pt>
    <dgm:pt modelId="{FB9AFB90-F62B-4C65-A11F-0723B0BD70A8}">
      <dgm:prSet phldrT="[文本]"/>
      <dgm:spPr/>
      <dgm:t>
        <a:bodyPr/>
        <a:lstStyle/>
        <a:p>
          <a:r>
            <a:rPr lang="zh-CN" altLang="en-US" dirty="0"/>
            <a:t>形成宪章框架</a:t>
          </a:r>
        </a:p>
      </dgm:t>
    </dgm:pt>
    <dgm:pt modelId="{59D82154-6D28-4E11-A075-DE2DC59E6DCA}" type="parTrans" cxnId="{9B96CF0F-2E9F-435A-86C1-2FB7633A3E40}">
      <dgm:prSet/>
      <dgm:spPr/>
      <dgm:t>
        <a:bodyPr/>
        <a:lstStyle/>
        <a:p>
          <a:endParaRPr lang="zh-CN" altLang="en-US"/>
        </a:p>
      </dgm:t>
    </dgm:pt>
    <dgm:pt modelId="{BD52348F-CBF3-49B6-B532-0042967C867D}" type="sibTrans" cxnId="{9B96CF0F-2E9F-435A-86C1-2FB7633A3E40}">
      <dgm:prSet/>
      <dgm:spPr/>
      <dgm:t>
        <a:bodyPr/>
        <a:lstStyle/>
        <a:p>
          <a:endParaRPr lang="zh-CN" altLang="en-US"/>
        </a:p>
      </dgm:t>
    </dgm:pt>
    <dgm:pt modelId="{50A73D2A-7C1A-4C4A-B98C-999CE58BF6A0}">
      <dgm:prSet phldrT="[文本]"/>
      <dgm:spPr/>
      <dgm:t>
        <a:bodyPr/>
        <a:lstStyle/>
        <a:p>
          <a:r>
            <a:rPr lang="zh-CN" altLang="en-US" dirty="0"/>
            <a:t>形成基本人员管理机制。</a:t>
          </a:r>
        </a:p>
      </dgm:t>
    </dgm:pt>
    <dgm:pt modelId="{494EC305-56FE-43A8-985A-865408C955B5}" type="parTrans" cxnId="{FCAAAC2B-42C3-488B-A260-4C04E4192F91}">
      <dgm:prSet/>
      <dgm:spPr/>
      <dgm:t>
        <a:bodyPr/>
        <a:lstStyle/>
        <a:p>
          <a:endParaRPr lang="zh-CN" altLang="en-US"/>
        </a:p>
      </dgm:t>
    </dgm:pt>
    <dgm:pt modelId="{F94126FA-A6A7-4578-96EF-6AD0D7C3F8FB}" type="sibTrans" cxnId="{FCAAAC2B-42C3-488B-A260-4C04E4192F91}">
      <dgm:prSet/>
      <dgm:spPr/>
      <dgm:t>
        <a:bodyPr/>
        <a:lstStyle/>
        <a:p>
          <a:endParaRPr lang="zh-CN" altLang="en-US"/>
        </a:p>
      </dgm:t>
    </dgm:pt>
    <dgm:pt modelId="{430823EF-1A88-400E-8332-640D8F70A182}">
      <dgm:prSet phldrT="[文本]"/>
      <dgm:spPr/>
      <dgm:t>
        <a:bodyPr/>
        <a:lstStyle/>
        <a:p>
          <a:r>
            <a:rPr lang="zh-CN" altLang="en-US" dirty="0"/>
            <a:t>在一批次的管理机制基础上，建立更加完善的机制</a:t>
          </a:r>
        </a:p>
      </dgm:t>
    </dgm:pt>
    <dgm:pt modelId="{432EBE00-CC4A-4C21-BA48-C6129F68A5BD}" type="parTrans" cxnId="{932FD73C-4AFA-4AB2-894F-4A1DB5F30AA0}">
      <dgm:prSet/>
      <dgm:spPr/>
      <dgm:t>
        <a:bodyPr/>
        <a:lstStyle/>
        <a:p>
          <a:endParaRPr lang="zh-CN" altLang="en-US"/>
        </a:p>
      </dgm:t>
    </dgm:pt>
    <dgm:pt modelId="{7AC25D68-3136-402D-8942-4B328C31645A}" type="sibTrans" cxnId="{932FD73C-4AFA-4AB2-894F-4A1DB5F30AA0}">
      <dgm:prSet/>
      <dgm:spPr/>
      <dgm:t>
        <a:bodyPr/>
        <a:lstStyle/>
        <a:p>
          <a:endParaRPr lang="zh-CN" altLang="en-US"/>
        </a:p>
      </dgm:t>
    </dgm:pt>
    <dgm:pt modelId="{138F2EF3-BF6B-49B3-916B-A53BDAE45C51}">
      <dgm:prSet phldrT="[文本]"/>
      <dgm:spPr/>
      <dgm:t>
        <a:bodyPr/>
        <a:lstStyle/>
        <a:p>
          <a:r>
            <a:rPr lang="zh-CN" altLang="en-US" dirty="0"/>
            <a:t>基本完成既定任务</a:t>
          </a:r>
        </a:p>
      </dgm:t>
    </dgm:pt>
    <dgm:pt modelId="{2FA2D706-0EC1-4FF3-8802-3712459EE4BC}" type="parTrans" cxnId="{9C45A12F-4DDF-4505-8872-D591DE7EC0E0}">
      <dgm:prSet/>
      <dgm:spPr/>
      <dgm:t>
        <a:bodyPr/>
        <a:lstStyle/>
        <a:p>
          <a:endParaRPr lang="zh-CN" altLang="en-US"/>
        </a:p>
      </dgm:t>
    </dgm:pt>
    <dgm:pt modelId="{C1D803AF-585A-413B-A287-3A3EF68C6EF4}" type="sibTrans" cxnId="{9C45A12F-4DDF-4505-8872-D591DE7EC0E0}">
      <dgm:prSet/>
      <dgm:spPr/>
      <dgm:t>
        <a:bodyPr/>
        <a:lstStyle/>
        <a:p>
          <a:endParaRPr lang="zh-CN" altLang="en-US"/>
        </a:p>
      </dgm:t>
    </dgm:pt>
    <dgm:pt modelId="{E8154CBC-992C-4136-A2B0-4B5776DF7A9A}">
      <dgm:prSet phldrT="[文本]"/>
      <dgm:spPr/>
      <dgm:t>
        <a:bodyPr/>
        <a:lstStyle/>
        <a:p>
          <a:r>
            <a:rPr lang="zh-CN" altLang="en-US" dirty="0"/>
            <a:t>为后续工作打下基础</a:t>
          </a:r>
        </a:p>
      </dgm:t>
    </dgm:pt>
    <dgm:pt modelId="{B9FA16BF-2CA5-41C6-B6BF-D33FC5D2987B}" type="parTrans" cxnId="{F0255017-DA4E-44A4-87DD-BD0E135C98E9}">
      <dgm:prSet/>
      <dgm:spPr/>
      <dgm:t>
        <a:bodyPr/>
        <a:lstStyle/>
        <a:p>
          <a:endParaRPr lang="zh-CN" altLang="en-US"/>
        </a:p>
      </dgm:t>
    </dgm:pt>
    <dgm:pt modelId="{9D2EEC5D-872A-442C-A363-73AE96F2A8DF}" type="sibTrans" cxnId="{F0255017-DA4E-44A4-87DD-BD0E135C98E9}">
      <dgm:prSet/>
      <dgm:spPr/>
      <dgm:t>
        <a:bodyPr/>
        <a:lstStyle/>
        <a:p>
          <a:endParaRPr lang="zh-CN" altLang="en-US"/>
        </a:p>
      </dgm:t>
    </dgm:pt>
    <dgm:pt modelId="{B8A80F4D-BB22-4761-B647-62D14559D2DF}">
      <dgm:prSet phldrT="[文本]"/>
      <dgm:spPr/>
      <dgm:t>
        <a:bodyPr/>
        <a:lstStyle/>
        <a:p>
          <a:r>
            <a:rPr lang="zh-CN" altLang="en-US" dirty="0"/>
            <a:t>产出的数字出版物和</a:t>
          </a:r>
          <a:r>
            <a:rPr lang="en-US" altLang="zh-CN" dirty="0"/>
            <a:t>XLP</a:t>
          </a:r>
          <a:r>
            <a:rPr lang="zh-CN" altLang="en-US" dirty="0"/>
            <a:t>操作手册得到老师认可</a:t>
          </a:r>
        </a:p>
      </dgm:t>
    </dgm:pt>
    <dgm:pt modelId="{756187FF-9CE1-4E09-99AD-1554914A2715}" type="parTrans" cxnId="{A242B3D1-C59D-4C40-9A17-19A5E0ED3FD5}">
      <dgm:prSet/>
      <dgm:spPr/>
      <dgm:t>
        <a:bodyPr/>
        <a:lstStyle/>
        <a:p>
          <a:endParaRPr lang="zh-CN" altLang="en-US"/>
        </a:p>
      </dgm:t>
    </dgm:pt>
    <dgm:pt modelId="{4A9D208E-3ABC-4E5C-8946-2C2DB8C1573C}" type="sibTrans" cxnId="{A242B3D1-C59D-4C40-9A17-19A5E0ED3FD5}">
      <dgm:prSet/>
      <dgm:spPr/>
      <dgm:t>
        <a:bodyPr/>
        <a:lstStyle/>
        <a:p>
          <a:endParaRPr lang="zh-CN" altLang="en-US"/>
        </a:p>
      </dgm:t>
    </dgm:pt>
    <dgm:pt modelId="{1A02C0CB-F9FE-43BB-8BD7-627F0B7BA887}">
      <dgm:prSet phldrT="[文本]"/>
      <dgm:spPr/>
      <dgm:t>
        <a:bodyPr/>
        <a:lstStyle/>
        <a:p>
          <a:r>
            <a:rPr lang="zh-CN" altLang="en-US" dirty="0"/>
            <a:t>未完成全部最终任务</a:t>
          </a:r>
        </a:p>
      </dgm:t>
    </dgm:pt>
    <dgm:pt modelId="{BF417E62-5063-4D70-9DA4-08DB5152B00D}" type="parTrans" cxnId="{F4E754C3-9DEA-4D9F-B57B-3CCCE4D1A6B1}">
      <dgm:prSet/>
      <dgm:spPr/>
      <dgm:t>
        <a:bodyPr/>
        <a:lstStyle/>
        <a:p>
          <a:endParaRPr lang="zh-CN" altLang="en-US"/>
        </a:p>
      </dgm:t>
    </dgm:pt>
    <dgm:pt modelId="{FDD531CE-3A4A-4059-92DC-2319A58BDB1B}" type="sibTrans" cxnId="{F4E754C3-9DEA-4D9F-B57B-3CCCE4D1A6B1}">
      <dgm:prSet/>
      <dgm:spPr/>
      <dgm:t>
        <a:bodyPr/>
        <a:lstStyle/>
        <a:p>
          <a:endParaRPr lang="zh-CN" altLang="en-US"/>
        </a:p>
      </dgm:t>
    </dgm:pt>
    <dgm:pt modelId="{9F3DDED6-E95D-41B5-AA1E-0B39995F3FD2}" type="pres">
      <dgm:prSet presAssocID="{CEE56389-5F37-40B8-95A3-427E701A9F6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DED38F39-3A41-459B-8E31-CAE42699DFC9}" type="pres">
      <dgm:prSet presAssocID="{CEE56389-5F37-40B8-95A3-427E701A9F68}" presName="tSp" presStyleCnt="0"/>
      <dgm:spPr/>
    </dgm:pt>
    <dgm:pt modelId="{DF38480B-084D-428A-A4E4-0B3578AA5877}" type="pres">
      <dgm:prSet presAssocID="{CEE56389-5F37-40B8-95A3-427E701A9F68}" presName="bSp" presStyleCnt="0"/>
      <dgm:spPr/>
    </dgm:pt>
    <dgm:pt modelId="{209C29D6-6E50-4201-BB13-3D7D74A53ADB}" type="pres">
      <dgm:prSet presAssocID="{CEE56389-5F37-40B8-95A3-427E701A9F68}" presName="process" presStyleCnt="0"/>
      <dgm:spPr/>
    </dgm:pt>
    <dgm:pt modelId="{3414A17A-F6B6-4249-A083-84BA321A1EBB}" type="pres">
      <dgm:prSet presAssocID="{CEEAE2D8-D198-41A6-A619-AB278C5B1400}" presName="composite1" presStyleCnt="0"/>
      <dgm:spPr/>
    </dgm:pt>
    <dgm:pt modelId="{8B3512F8-BA68-4545-B91A-D97EB061E3F5}" type="pres">
      <dgm:prSet presAssocID="{CEEAE2D8-D198-41A6-A619-AB278C5B1400}" presName="dummyNode1" presStyleLbl="node1" presStyleIdx="0" presStyleCnt="3"/>
      <dgm:spPr/>
    </dgm:pt>
    <dgm:pt modelId="{5F3CDF73-E4DE-4271-8941-B2B8F9F6895A}" type="pres">
      <dgm:prSet presAssocID="{CEEAE2D8-D198-41A6-A619-AB278C5B1400}" presName="childNode1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0E9F224-482C-4E06-A203-0A275DB47315}" type="pres">
      <dgm:prSet presAssocID="{CEEAE2D8-D198-41A6-A619-AB278C5B1400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09CF431-B0B9-4276-BD42-44220B774BAE}" type="pres">
      <dgm:prSet presAssocID="{CEEAE2D8-D198-41A6-A619-AB278C5B1400}" presName="parentNode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0A6C97F-1B7A-4C76-9C49-137C72D099F1}" type="pres">
      <dgm:prSet presAssocID="{CEEAE2D8-D198-41A6-A619-AB278C5B1400}" presName="connSite1" presStyleCnt="0"/>
      <dgm:spPr/>
    </dgm:pt>
    <dgm:pt modelId="{4225E123-DF6D-44A8-88D4-68576D1AABB8}" type="pres">
      <dgm:prSet presAssocID="{D4B53A37-C45B-4B87-B1AE-BD02DD7A80D8}" presName="Name9" presStyleLbl="sibTrans2D1" presStyleIdx="0" presStyleCnt="2"/>
      <dgm:spPr/>
      <dgm:t>
        <a:bodyPr/>
        <a:lstStyle/>
        <a:p>
          <a:endParaRPr lang="zh-CN" altLang="en-US"/>
        </a:p>
      </dgm:t>
    </dgm:pt>
    <dgm:pt modelId="{AF0B144F-A177-4BE1-95A5-A50E213B588C}" type="pres">
      <dgm:prSet presAssocID="{FF730C2A-221D-4333-A904-AB5894063589}" presName="composite2" presStyleCnt="0"/>
      <dgm:spPr/>
    </dgm:pt>
    <dgm:pt modelId="{918084D1-549B-4B51-9A9E-450EEF153310}" type="pres">
      <dgm:prSet presAssocID="{FF730C2A-221D-4333-A904-AB5894063589}" presName="dummyNode2" presStyleLbl="node1" presStyleIdx="0" presStyleCnt="3"/>
      <dgm:spPr/>
    </dgm:pt>
    <dgm:pt modelId="{3252AA43-45BF-4ED5-97E1-8D0B3E5C4C4C}" type="pres">
      <dgm:prSet presAssocID="{FF730C2A-221D-4333-A904-AB5894063589}" presName="childNode2" presStyleLbl="bgAcc1" presStyleIdx="1" presStyleCnt="3" custLinFactNeighborX="366" custLinFactNeighborY="44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453E6CA-137A-4B9F-A7B2-97AD345FFDE2}" type="pres">
      <dgm:prSet presAssocID="{FF730C2A-221D-4333-A904-AB5894063589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4BBE645-B846-433E-89B7-C784B2B68BE1}" type="pres">
      <dgm:prSet presAssocID="{FF730C2A-221D-4333-A904-AB5894063589}" presName="parentNode2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933136E-5606-46D1-A36C-6BF81329AFE2}" type="pres">
      <dgm:prSet presAssocID="{FF730C2A-221D-4333-A904-AB5894063589}" presName="connSite2" presStyleCnt="0"/>
      <dgm:spPr/>
    </dgm:pt>
    <dgm:pt modelId="{D88A8F14-A9F1-4BCF-B1F8-F109C24ACCC6}" type="pres">
      <dgm:prSet presAssocID="{255A6BD6-08BC-4063-B568-1641955D9DB0}" presName="Name18" presStyleLbl="sibTrans2D1" presStyleIdx="1" presStyleCnt="2"/>
      <dgm:spPr/>
      <dgm:t>
        <a:bodyPr/>
        <a:lstStyle/>
        <a:p>
          <a:endParaRPr lang="zh-CN" altLang="en-US"/>
        </a:p>
      </dgm:t>
    </dgm:pt>
    <dgm:pt modelId="{CC65310B-F6E8-473D-A16D-104B17508CB4}" type="pres">
      <dgm:prSet presAssocID="{1A4A41F6-2E3E-4F8F-A3A2-4997951566C7}" presName="composite1" presStyleCnt="0"/>
      <dgm:spPr/>
    </dgm:pt>
    <dgm:pt modelId="{C19E5D3F-2F70-4B9E-A356-58B14A10A177}" type="pres">
      <dgm:prSet presAssocID="{1A4A41F6-2E3E-4F8F-A3A2-4997951566C7}" presName="dummyNode1" presStyleLbl="node1" presStyleIdx="1" presStyleCnt="3"/>
      <dgm:spPr/>
    </dgm:pt>
    <dgm:pt modelId="{B0C1FAF5-2C5F-4272-8D3B-205C76A3D83F}" type="pres">
      <dgm:prSet presAssocID="{1A4A41F6-2E3E-4F8F-A3A2-4997951566C7}" presName="childNode1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83550FD-41CE-47C9-A0CF-EF13A087B400}" type="pres">
      <dgm:prSet presAssocID="{1A4A41F6-2E3E-4F8F-A3A2-4997951566C7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FAD8052-81EC-4B2B-A561-9365118DBD73}" type="pres">
      <dgm:prSet presAssocID="{1A4A41F6-2E3E-4F8F-A3A2-4997951566C7}" presName="parentNode1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790062E-F511-4279-A73F-DC9AA9C37568}" type="pres">
      <dgm:prSet presAssocID="{1A4A41F6-2E3E-4F8F-A3A2-4997951566C7}" presName="connSite1" presStyleCnt="0"/>
      <dgm:spPr/>
    </dgm:pt>
  </dgm:ptLst>
  <dgm:cxnLst>
    <dgm:cxn modelId="{F1F1DA18-124D-4A08-B8FF-A0C67340DE29}" type="presOf" srcId="{0F2EA64F-B408-416C-8C20-67601D71C9F0}" destId="{0453E6CA-137A-4B9F-A7B2-97AD345FFDE2}" srcOrd="1" destOrd="4" presId="urn:microsoft.com/office/officeart/2005/8/layout/hProcess4"/>
    <dgm:cxn modelId="{9B96CF0F-2E9F-435A-86C1-2FB7633A3E40}" srcId="{FF730C2A-221D-4333-A904-AB5894063589}" destId="{FB9AFB90-F62B-4C65-A11F-0723B0BD70A8}" srcOrd="1" destOrd="0" parTransId="{59D82154-6D28-4E11-A075-DE2DC59E6DCA}" sibTransId="{BD52348F-CBF3-49B6-B532-0042967C867D}"/>
    <dgm:cxn modelId="{6639A1EE-2DB4-42C3-A019-2F9BF09ED791}" srcId="{FF730C2A-221D-4333-A904-AB5894063589}" destId="{0F2EA64F-B408-416C-8C20-67601D71C9F0}" srcOrd="4" destOrd="0" parTransId="{10C6656C-D9A6-42F3-B945-8EE0A45051A5}" sibTransId="{F7CE8F51-4FA8-4DF5-9711-9E7D5248C2F6}"/>
    <dgm:cxn modelId="{B03933D5-B2DF-4082-90D1-7261656C7C9E}" srcId="{CEE56389-5F37-40B8-95A3-427E701A9F68}" destId="{1A4A41F6-2E3E-4F8F-A3A2-4997951566C7}" srcOrd="2" destOrd="0" parTransId="{05CFD715-88EB-496A-8C78-C461D23B368C}" sibTransId="{BFBD7B38-64CE-446F-86F2-475CD25E2B57}"/>
    <dgm:cxn modelId="{1DC15214-7EE5-46A7-BBE9-172D2C79793B}" type="presOf" srcId="{50A73D2A-7C1A-4C4A-B98C-999CE58BF6A0}" destId="{30E9F224-482C-4E06-A203-0A275DB47315}" srcOrd="1" destOrd="2" presId="urn:microsoft.com/office/officeart/2005/8/layout/hProcess4"/>
    <dgm:cxn modelId="{C022B327-623E-4FDE-95AF-013AEE55C766}" type="presOf" srcId="{430823EF-1A88-400E-8332-640D8F70A182}" destId="{3252AA43-45BF-4ED5-97E1-8D0B3E5C4C4C}" srcOrd="0" destOrd="2" presId="urn:microsoft.com/office/officeart/2005/8/layout/hProcess4"/>
    <dgm:cxn modelId="{D48ED30C-3CF2-4BE4-9986-CC71E3135E0F}" type="presOf" srcId="{1A4A41F6-2E3E-4F8F-A3A2-4997951566C7}" destId="{FFAD8052-81EC-4B2B-A561-9365118DBD73}" srcOrd="0" destOrd="0" presId="urn:microsoft.com/office/officeart/2005/8/layout/hProcess4"/>
    <dgm:cxn modelId="{FCAAAC2B-42C3-488B-A260-4C04E4192F91}" srcId="{CEEAE2D8-D198-41A6-A619-AB278C5B1400}" destId="{50A73D2A-7C1A-4C4A-B98C-999CE58BF6A0}" srcOrd="2" destOrd="0" parTransId="{494EC305-56FE-43A8-985A-865408C955B5}" sibTransId="{F94126FA-A6A7-4578-96EF-6AD0D7C3F8FB}"/>
    <dgm:cxn modelId="{02CB5A2B-2655-4665-9EC7-3E8E3198E8C9}" type="presOf" srcId="{FB9AFB90-F62B-4C65-A11F-0723B0BD70A8}" destId="{3252AA43-45BF-4ED5-97E1-8D0B3E5C4C4C}" srcOrd="0" destOrd="1" presId="urn:microsoft.com/office/officeart/2005/8/layout/hProcess4"/>
    <dgm:cxn modelId="{F99C8EF2-2431-4458-9A21-ECA3557AD837}" type="presOf" srcId="{50A73D2A-7C1A-4C4A-B98C-999CE58BF6A0}" destId="{5F3CDF73-E4DE-4271-8941-B2B8F9F6895A}" srcOrd="0" destOrd="2" presId="urn:microsoft.com/office/officeart/2005/8/layout/hProcess4"/>
    <dgm:cxn modelId="{AA0508BB-B17D-46D3-90A7-564238477CB1}" type="presOf" srcId="{853AF550-01BF-4BCD-8BA1-01C5F29E7668}" destId="{E83550FD-41CE-47C9-A0CF-EF13A087B400}" srcOrd="1" destOrd="1" presId="urn:microsoft.com/office/officeart/2005/8/layout/hProcess4"/>
    <dgm:cxn modelId="{932FD73C-4AFA-4AB2-894F-4A1DB5F30AA0}" srcId="{FF730C2A-221D-4333-A904-AB5894063589}" destId="{430823EF-1A88-400E-8332-640D8F70A182}" srcOrd="2" destOrd="0" parTransId="{432EBE00-CC4A-4C21-BA48-C6129F68A5BD}" sibTransId="{7AC25D68-3136-402D-8942-4B328C31645A}"/>
    <dgm:cxn modelId="{5CFC2029-ACFB-4CCD-A739-C98D28E31A9F}" srcId="{CEEAE2D8-D198-41A6-A619-AB278C5B1400}" destId="{BC34ECB6-2A94-4D99-98D5-DB183D6F6F04}" srcOrd="0" destOrd="0" parTransId="{8FC49995-D610-4BD6-B65E-7F60CD8457FB}" sibTransId="{2B498F39-27F6-47A9-B010-FBBD8A758A6F}"/>
    <dgm:cxn modelId="{F0255017-DA4E-44A4-87DD-BD0E135C98E9}" srcId="{CEEAE2D8-D198-41A6-A619-AB278C5B1400}" destId="{E8154CBC-992C-4136-A2B0-4B5776DF7A9A}" srcOrd="3" destOrd="0" parTransId="{B9FA16BF-2CA5-41C6-B6BF-D33FC5D2987B}" sibTransId="{9D2EEC5D-872A-442C-A363-73AE96F2A8DF}"/>
    <dgm:cxn modelId="{9C45A12F-4DDF-4505-8872-D591DE7EC0E0}" srcId="{FF730C2A-221D-4333-A904-AB5894063589}" destId="{138F2EF3-BF6B-49B3-916B-A53BDAE45C51}" srcOrd="3" destOrd="0" parTransId="{2FA2D706-0EC1-4FF3-8802-3712459EE4BC}" sibTransId="{C1D803AF-585A-413B-A287-3A3EF68C6EF4}"/>
    <dgm:cxn modelId="{7CAA9A8E-2377-414E-8CB9-74A72D7575A8}" type="presOf" srcId="{138F2EF3-BF6B-49B3-916B-A53BDAE45C51}" destId="{3252AA43-45BF-4ED5-97E1-8D0B3E5C4C4C}" srcOrd="0" destOrd="3" presId="urn:microsoft.com/office/officeart/2005/8/layout/hProcess4"/>
    <dgm:cxn modelId="{F4E754C3-9DEA-4D9F-B57B-3CCCE4D1A6B1}" srcId="{1A4A41F6-2E3E-4F8F-A3A2-4997951566C7}" destId="{1A02C0CB-F9FE-43BB-8BD7-627F0B7BA887}" srcOrd="3" destOrd="0" parTransId="{BF417E62-5063-4D70-9DA4-08DB5152B00D}" sibTransId="{FDD531CE-3A4A-4059-92DC-2319A58BDB1B}"/>
    <dgm:cxn modelId="{66F8FF5E-90DB-4F1C-92CB-30A825CA4F3B}" type="presOf" srcId="{FB9AFB90-F62B-4C65-A11F-0723B0BD70A8}" destId="{0453E6CA-137A-4B9F-A7B2-97AD345FFDE2}" srcOrd="1" destOrd="1" presId="urn:microsoft.com/office/officeart/2005/8/layout/hProcess4"/>
    <dgm:cxn modelId="{47421277-B64C-41F9-8A45-90DBEE50AF05}" type="presOf" srcId="{C11CB864-866E-4CF3-908A-B761842B2375}" destId="{30E9F224-482C-4E06-A203-0A275DB47315}" srcOrd="1" destOrd="1" presId="urn:microsoft.com/office/officeart/2005/8/layout/hProcess4"/>
    <dgm:cxn modelId="{EF877B8B-74E7-4418-BC76-08866313090F}" type="presOf" srcId="{BC34ECB6-2A94-4D99-98D5-DB183D6F6F04}" destId="{5F3CDF73-E4DE-4271-8941-B2B8F9F6895A}" srcOrd="0" destOrd="0" presId="urn:microsoft.com/office/officeart/2005/8/layout/hProcess4"/>
    <dgm:cxn modelId="{BF3C4186-6025-49D4-9447-4D41330FA99D}" srcId="{1A4A41F6-2E3E-4F8F-A3A2-4997951566C7}" destId="{A1568DDC-44C6-4D41-988A-5ED8114CD891}" srcOrd="0" destOrd="0" parTransId="{7C769489-D429-4401-8DFB-4FE9C6912615}" sibTransId="{7588D027-B85A-4E29-B2D7-F639AD74E4EE}"/>
    <dgm:cxn modelId="{D7771F72-4306-4BFC-A638-59CD48616A14}" srcId="{CEE56389-5F37-40B8-95A3-427E701A9F68}" destId="{FF730C2A-221D-4333-A904-AB5894063589}" srcOrd="1" destOrd="0" parTransId="{CDB91484-2FC0-4B84-9EA4-3952594EC227}" sibTransId="{255A6BD6-08BC-4063-B568-1641955D9DB0}"/>
    <dgm:cxn modelId="{E685F722-6272-4BDC-90C0-F3AAE7071BF1}" type="presOf" srcId="{5B2367C3-6D70-4252-8013-59E8C9B5F860}" destId="{0453E6CA-137A-4B9F-A7B2-97AD345FFDE2}" srcOrd="1" destOrd="0" presId="urn:microsoft.com/office/officeart/2005/8/layout/hProcess4"/>
    <dgm:cxn modelId="{98483C9D-DE9F-4AEB-BE1F-5C7E34773B66}" type="presOf" srcId="{1A02C0CB-F9FE-43BB-8BD7-627F0B7BA887}" destId="{B0C1FAF5-2C5F-4272-8D3B-205C76A3D83F}" srcOrd="0" destOrd="3" presId="urn:microsoft.com/office/officeart/2005/8/layout/hProcess4"/>
    <dgm:cxn modelId="{415D4827-41F5-4BC5-8621-932B216D935E}" srcId="{CEE56389-5F37-40B8-95A3-427E701A9F68}" destId="{CEEAE2D8-D198-41A6-A619-AB278C5B1400}" srcOrd="0" destOrd="0" parTransId="{9204FB68-B686-4A31-A27D-7507CEB5CC9D}" sibTransId="{D4B53A37-C45B-4B87-B1AE-BD02DD7A80D8}"/>
    <dgm:cxn modelId="{9C3F6295-4E37-49A1-BAA3-246E76DBD18A}" type="presOf" srcId="{A1568DDC-44C6-4D41-988A-5ED8114CD891}" destId="{B0C1FAF5-2C5F-4272-8D3B-205C76A3D83F}" srcOrd="0" destOrd="0" presId="urn:microsoft.com/office/officeart/2005/8/layout/hProcess4"/>
    <dgm:cxn modelId="{320145A0-CC01-48BC-BAAC-920F4D5FEE15}" type="presOf" srcId="{255A6BD6-08BC-4063-B568-1641955D9DB0}" destId="{D88A8F14-A9F1-4BCF-B1F8-F109C24ACCC6}" srcOrd="0" destOrd="0" presId="urn:microsoft.com/office/officeart/2005/8/layout/hProcess4"/>
    <dgm:cxn modelId="{C33E8C28-3F67-472A-9B7D-F6433BFE92BE}" type="presOf" srcId="{E8154CBC-992C-4136-A2B0-4B5776DF7A9A}" destId="{5F3CDF73-E4DE-4271-8941-B2B8F9F6895A}" srcOrd="0" destOrd="3" presId="urn:microsoft.com/office/officeart/2005/8/layout/hProcess4"/>
    <dgm:cxn modelId="{8FADFEDF-6F97-4A3A-83D2-9DF8397D1EB3}" type="presOf" srcId="{1A02C0CB-F9FE-43BB-8BD7-627F0B7BA887}" destId="{E83550FD-41CE-47C9-A0CF-EF13A087B400}" srcOrd="1" destOrd="3" presId="urn:microsoft.com/office/officeart/2005/8/layout/hProcess4"/>
    <dgm:cxn modelId="{2BE70266-F0F2-446A-9F31-2256920343F1}" type="presOf" srcId="{BC34ECB6-2A94-4D99-98D5-DB183D6F6F04}" destId="{30E9F224-482C-4E06-A203-0A275DB47315}" srcOrd="1" destOrd="0" presId="urn:microsoft.com/office/officeart/2005/8/layout/hProcess4"/>
    <dgm:cxn modelId="{2358D9FE-3EF0-49B3-93CF-B0459EB18A86}" type="presOf" srcId="{853AF550-01BF-4BCD-8BA1-01C5F29E7668}" destId="{B0C1FAF5-2C5F-4272-8D3B-205C76A3D83F}" srcOrd="0" destOrd="1" presId="urn:microsoft.com/office/officeart/2005/8/layout/hProcess4"/>
    <dgm:cxn modelId="{5C4015A4-7C8C-4D25-8EC9-608067554BF5}" type="presOf" srcId="{B8A80F4D-BB22-4761-B647-62D14559D2DF}" destId="{E83550FD-41CE-47C9-A0CF-EF13A087B400}" srcOrd="1" destOrd="2" presId="urn:microsoft.com/office/officeart/2005/8/layout/hProcess4"/>
    <dgm:cxn modelId="{BB6AD621-82D4-4BFB-89CA-F614601D29E6}" type="presOf" srcId="{A1568DDC-44C6-4D41-988A-5ED8114CD891}" destId="{E83550FD-41CE-47C9-A0CF-EF13A087B400}" srcOrd="1" destOrd="0" presId="urn:microsoft.com/office/officeart/2005/8/layout/hProcess4"/>
    <dgm:cxn modelId="{57095229-9F2E-4AA2-9FAD-14274678B5DF}" srcId="{1A4A41F6-2E3E-4F8F-A3A2-4997951566C7}" destId="{853AF550-01BF-4BCD-8BA1-01C5F29E7668}" srcOrd="1" destOrd="0" parTransId="{611ED95B-9863-483F-BA0B-3FC07DEBE1B2}" sibTransId="{87AFD43E-AAD9-448A-BFF0-ACA0F9094180}"/>
    <dgm:cxn modelId="{19198939-71B6-4B49-A714-75252B36154A}" type="presOf" srcId="{5B2367C3-6D70-4252-8013-59E8C9B5F860}" destId="{3252AA43-45BF-4ED5-97E1-8D0B3E5C4C4C}" srcOrd="0" destOrd="0" presId="urn:microsoft.com/office/officeart/2005/8/layout/hProcess4"/>
    <dgm:cxn modelId="{AB63ACC1-ADDC-4C43-92EA-D4DCEC36632D}" type="presOf" srcId="{C11CB864-866E-4CF3-908A-B761842B2375}" destId="{5F3CDF73-E4DE-4271-8941-B2B8F9F6895A}" srcOrd="0" destOrd="1" presId="urn:microsoft.com/office/officeart/2005/8/layout/hProcess4"/>
    <dgm:cxn modelId="{351C4D0E-DC2A-4C66-B731-86D409DBFA02}" type="presOf" srcId="{CEEAE2D8-D198-41A6-A619-AB278C5B1400}" destId="{809CF431-B0B9-4276-BD42-44220B774BAE}" srcOrd="0" destOrd="0" presId="urn:microsoft.com/office/officeart/2005/8/layout/hProcess4"/>
    <dgm:cxn modelId="{5786EB42-9FBB-42DC-84B1-64DDC316F3A1}" srcId="{CEEAE2D8-D198-41A6-A619-AB278C5B1400}" destId="{C11CB864-866E-4CF3-908A-B761842B2375}" srcOrd="1" destOrd="0" parTransId="{DAD75D5B-B469-4EC1-AFEF-BC1BD53343DD}" sibTransId="{512DE7E5-A157-4FC8-9A68-6F0CD3890026}"/>
    <dgm:cxn modelId="{B5054630-2C26-4688-8C21-CFBE50F83DA7}" srcId="{FF730C2A-221D-4333-A904-AB5894063589}" destId="{5B2367C3-6D70-4252-8013-59E8C9B5F860}" srcOrd="0" destOrd="0" parTransId="{FD61D4BE-5C03-4984-B1B0-57DEA53A6931}" sibTransId="{E00D7495-2B95-4169-8C40-253843C83EC6}"/>
    <dgm:cxn modelId="{1C44C925-6AAF-4330-B4D7-2E46960738E2}" type="presOf" srcId="{CEE56389-5F37-40B8-95A3-427E701A9F68}" destId="{9F3DDED6-E95D-41B5-AA1E-0B39995F3FD2}" srcOrd="0" destOrd="0" presId="urn:microsoft.com/office/officeart/2005/8/layout/hProcess4"/>
    <dgm:cxn modelId="{404C4F3A-D1A0-47D3-9A63-E58A4438849B}" type="presOf" srcId="{E8154CBC-992C-4136-A2B0-4B5776DF7A9A}" destId="{30E9F224-482C-4E06-A203-0A275DB47315}" srcOrd="1" destOrd="3" presId="urn:microsoft.com/office/officeart/2005/8/layout/hProcess4"/>
    <dgm:cxn modelId="{8CBD1510-67E2-497A-915D-806D1B7AB556}" type="presOf" srcId="{138F2EF3-BF6B-49B3-916B-A53BDAE45C51}" destId="{0453E6CA-137A-4B9F-A7B2-97AD345FFDE2}" srcOrd="1" destOrd="3" presId="urn:microsoft.com/office/officeart/2005/8/layout/hProcess4"/>
    <dgm:cxn modelId="{F201E993-E4E9-479A-8AB4-9887BCD0AC3E}" type="presOf" srcId="{B8A80F4D-BB22-4761-B647-62D14559D2DF}" destId="{B0C1FAF5-2C5F-4272-8D3B-205C76A3D83F}" srcOrd="0" destOrd="2" presId="urn:microsoft.com/office/officeart/2005/8/layout/hProcess4"/>
    <dgm:cxn modelId="{A6B1A3B0-84F9-4ADA-8E95-6118A27A2C3E}" type="presOf" srcId="{0F2EA64F-B408-416C-8C20-67601D71C9F0}" destId="{3252AA43-45BF-4ED5-97E1-8D0B3E5C4C4C}" srcOrd="0" destOrd="4" presId="urn:microsoft.com/office/officeart/2005/8/layout/hProcess4"/>
    <dgm:cxn modelId="{A242B3D1-C59D-4C40-9A17-19A5E0ED3FD5}" srcId="{1A4A41F6-2E3E-4F8F-A3A2-4997951566C7}" destId="{B8A80F4D-BB22-4761-B647-62D14559D2DF}" srcOrd="2" destOrd="0" parTransId="{756187FF-9CE1-4E09-99AD-1554914A2715}" sibTransId="{4A9D208E-3ABC-4E5C-8946-2C2DB8C1573C}"/>
    <dgm:cxn modelId="{CD4B33E7-6790-4563-BAF5-7D8F7343046A}" type="presOf" srcId="{FF730C2A-221D-4333-A904-AB5894063589}" destId="{B4BBE645-B846-433E-89B7-C784B2B68BE1}" srcOrd="0" destOrd="0" presId="urn:microsoft.com/office/officeart/2005/8/layout/hProcess4"/>
    <dgm:cxn modelId="{59C78458-941F-4918-9C88-DABC48C1F0D4}" type="presOf" srcId="{430823EF-1A88-400E-8332-640D8F70A182}" destId="{0453E6CA-137A-4B9F-A7B2-97AD345FFDE2}" srcOrd="1" destOrd="2" presId="urn:microsoft.com/office/officeart/2005/8/layout/hProcess4"/>
    <dgm:cxn modelId="{2BFB46C1-1526-421D-8EAE-537B632C5B6F}" type="presOf" srcId="{D4B53A37-C45B-4B87-B1AE-BD02DD7A80D8}" destId="{4225E123-DF6D-44A8-88D4-68576D1AABB8}" srcOrd="0" destOrd="0" presId="urn:microsoft.com/office/officeart/2005/8/layout/hProcess4"/>
    <dgm:cxn modelId="{53579EEC-3C7C-4AF6-BDA0-4B959EBE7D35}" type="presParOf" srcId="{9F3DDED6-E95D-41B5-AA1E-0B39995F3FD2}" destId="{DED38F39-3A41-459B-8E31-CAE42699DFC9}" srcOrd="0" destOrd="0" presId="urn:microsoft.com/office/officeart/2005/8/layout/hProcess4"/>
    <dgm:cxn modelId="{C6ACA59B-FD9C-4055-8ABE-B272559AADBE}" type="presParOf" srcId="{9F3DDED6-E95D-41B5-AA1E-0B39995F3FD2}" destId="{DF38480B-084D-428A-A4E4-0B3578AA5877}" srcOrd="1" destOrd="0" presId="urn:microsoft.com/office/officeart/2005/8/layout/hProcess4"/>
    <dgm:cxn modelId="{625245EE-1981-417A-BC9B-FE246AC51E34}" type="presParOf" srcId="{9F3DDED6-E95D-41B5-AA1E-0B39995F3FD2}" destId="{209C29D6-6E50-4201-BB13-3D7D74A53ADB}" srcOrd="2" destOrd="0" presId="urn:microsoft.com/office/officeart/2005/8/layout/hProcess4"/>
    <dgm:cxn modelId="{4947E7C6-B1EB-41A4-8C80-D66DC40190AC}" type="presParOf" srcId="{209C29D6-6E50-4201-BB13-3D7D74A53ADB}" destId="{3414A17A-F6B6-4249-A083-84BA321A1EBB}" srcOrd="0" destOrd="0" presId="urn:microsoft.com/office/officeart/2005/8/layout/hProcess4"/>
    <dgm:cxn modelId="{2DBB23E2-B115-415B-97D9-CE6BCEF49FF5}" type="presParOf" srcId="{3414A17A-F6B6-4249-A083-84BA321A1EBB}" destId="{8B3512F8-BA68-4545-B91A-D97EB061E3F5}" srcOrd="0" destOrd="0" presId="urn:microsoft.com/office/officeart/2005/8/layout/hProcess4"/>
    <dgm:cxn modelId="{1CE92F12-2F42-456A-9F94-ACE96433DB3E}" type="presParOf" srcId="{3414A17A-F6B6-4249-A083-84BA321A1EBB}" destId="{5F3CDF73-E4DE-4271-8941-B2B8F9F6895A}" srcOrd="1" destOrd="0" presId="urn:microsoft.com/office/officeart/2005/8/layout/hProcess4"/>
    <dgm:cxn modelId="{C7C300C5-3D0F-40EC-90B0-79F8423117A3}" type="presParOf" srcId="{3414A17A-F6B6-4249-A083-84BA321A1EBB}" destId="{30E9F224-482C-4E06-A203-0A275DB47315}" srcOrd="2" destOrd="0" presId="urn:microsoft.com/office/officeart/2005/8/layout/hProcess4"/>
    <dgm:cxn modelId="{2CF69726-9417-4673-829F-7EDF98E395B7}" type="presParOf" srcId="{3414A17A-F6B6-4249-A083-84BA321A1EBB}" destId="{809CF431-B0B9-4276-BD42-44220B774BAE}" srcOrd="3" destOrd="0" presId="urn:microsoft.com/office/officeart/2005/8/layout/hProcess4"/>
    <dgm:cxn modelId="{4489B15D-25B3-41BF-8B2C-F5A9D63636F6}" type="presParOf" srcId="{3414A17A-F6B6-4249-A083-84BA321A1EBB}" destId="{D0A6C97F-1B7A-4C76-9C49-137C72D099F1}" srcOrd="4" destOrd="0" presId="urn:microsoft.com/office/officeart/2005/8/layout/hProcess4"/>
    <dgm:cxn modelId="{6490C8B1-5A6F-472A-9AE5-627AF4E09155}" type="presParOf" srcId="{209C29D6-6E50-4201-BB13-3D7D74A53ADB}" destId="{4225E123-DF6D-44A8-88D4-68576D1AABB8}" srcOrd="1" destOrd="0" presId="urn:microsoft.com/office/officeart/2005/8/layout/hProcess4"/>
    <dgm:cxn modelId="{A125F2C5-C4DE-49A5-BD72-19F8BB762B82}" type="presParOf" srcId="{209C29D6-6E50-4201-BB13-3D7D74A53ADB}" destId="{AF0B144F-A177-4BE1-95A5-A50E213B588C}" srcOrd="2" destOrd="0" presId="urn:microsoft.com/office/officeart/2005/8/layout/hProcess4"/>
    <dgm:cxn modelId="{1F8C1911-7E93-4838-A97A-0062BD788D18}" type="presParOf" srcId="{AF0B144F-A177-4BE1-95A5-A50E213B588C}" destId="{918084D1-549B-4B51-9A9E-450EEF153310}" srcOrd="0" destOrd="0" presId="urn:microsoft.com/office/officeart/2005/8/layout/hProcess4"/>
    <dgm:cxn modelId="{04D131F1-AC51-4C01-BF16-32DC80761F04}" type="presParOf" srcId="{AF0B144F-A177-4BE1-95A5-A50E213B588C}" destId="{3252AA43-45BF-4ED5-97E1-8D0B3E5C4C4C}" srcOrd="1" destOrd="0" presId="urn:microsoft.com/office/officeart/2005/8/layout/hProcess4"/>
    <dgm:cxn modelId="{3E247D85-53CE-4DFC-BAC0-FFFFEDECB99C}" type="presParOf" srcId="{AF0B144F-A177-4BE1-95A5-A50E213B588C}" destId="{0453E6CA-137A-4B9F-A7B2-97AD345FFDE2}" srcOrd="2" destOrd="0" presId="urn:microsoft.com/office/officeart/2005/8/layout/hProcess4"/>
    <dgm:cxn modelId="{35022C77-4662-4703-9910-CEB97428F46F}" type="presParOf" srcId="{AF0B144F-A177-4BE1-95A5-A50E213B588C}" destId="{B4BBE645-B846-433E-89B7-C784B2B68BE1}" srcOrd="3" destOrd="0" presId="urn:microsoft.com/office/officeart/2005/8/layout/hProcess4"/>
    <dgm:cxn modelId="{79EDFD99-5E73-43D3-9D1A-6C2A08DF77AD}" type="presParOf" srcId="{AF0B144F-A177-4BE1-95A5-A50E213B588C}" destId="{7933136E-5606-46D1-A36C-6BF81329AFE2}" srcOrd="4" destOrd="0" presId="urn:microsoft.com/office/officeart/2005/8/layout/hProcess4"/>
    <dgm:cxn modelId="{528500E9-3893-4B2C-A5CB-E63A6F0C57CC}" type="presParOf" srcId="{209C29D6-6E50-4201-BB13-3D7D74A53ADB}" destId="{D88A8F14-A9F1-4BCF-B1F8-F109C24ACCC6}" srcOrd="3" destOrd="0" presId="urn:microsoft.com/office/officeart/2005/8/layout/hProcess4"/>
    <dgm:cxn modelId="{F26FA65E-AB2A-4E3B-88CA-F4DBDAEEEAB3}" type="presParOf" srcId="{209C29D6-6E50-4201-BB13-3D7D74A53ADB}" destId="{CC65310B-F6E8-473D-A16D-104B17508CB4}" srcOrd="4" destOrd="0" presId="urn:microsoft.com/office/officeart/2005/8/layout/hProcess4"/>
    <dgm:cxn modelId="{B83CC631-B22C-4882-BABA-6B80C40A5B16}" type="presParOf" srcId="{CC65310B-F6E8-473D-A16D-104B17508CB4}" destId="{C19E5D3F-2F70-4B9E-A356-58B14A10A177}" srcOrd="0" destOrd="0" presId="urn:microsoft.com/office/officeart/2005/8/layout/hProcess4"/>
    <dgm:cxn modelId="{9B69083B-CC51-43DD-A3F1-6F082C3FD598}" type="presParOf" srcId="{CC65310B-F6E8-473D-A16D-104B17508CB4}" destId="{B0C1FAF5-2C5F-4272-8D3B-205C76A3D83F}" srcOrd="1" destOrd="0" presId="urn:microsoft.com/office/officeart/2005/8/layout/hProcess4"/>
    <dgm:cxn modelId="{7C3035C6-59FF-43B9-9B0B-285FBCCF03FC}" type="presParOf" srcId="{CC65310B-F6E8-473D-A16D-104B17508CB4}" destId="{E83550FD-41CE-47C9-A0CF-EF13A087B400}" srcOrd="2" destOrd="0" presId="urn:microsoft.com/office/officeart/2005/8/layout/hProcess4"/>
    <dgm:cxn modelId="{1ADBAB2C-273D-4BD6-B964-A40E02D8BC21}" type="presParOf" srcId="{CC65310B-F6E8-473D-A16D-104B17508CB4}" destId="{FFAD8052-81EC-4B2B-A561-9365118DBD73}" srcOrd="3" destOrd="0" presId="urn:microsoft.com/office/officeart/2005/8/layout/hProcess4"/>
    <dgm:cxn modelId="{4ECEF869-52E5-4890-8BBA-2889B5F4B702}" type="presParOf" srcId="{CC65310B-F6E8-473D-A16D-104B17508CB4}" destId="{5790062E-F511-4279-A73F-DC9AA9C37568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E3BB9C-D60E-8547-B780-896E10C869B8}">
      <dsp:nvSpPr>
        <dsp:cNvPr id="0" name=""/>
        <dsp:cNvSpPr/>
      </dsp:nvSpPr>
      <dsp:spPr>
        <a:xfrm>
          <a:off x="480832" y="1185003"/>
          <a:ext cx="1908869" cy="1668592"/>
        </a:xfrm>
        <a:prstGeom prst="rightArrow">
          <a:avLst>
            <a:gd name="adj1" fmla="val 70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11430" rIns="2286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800" kern="1200" dirty="0"/>
            <a:t>人工作业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800" kern="1200" dirty="0"/>
            <a:t>标准度差</a:t>
          </a:r>
        </a:p>
      </dsp:txBody>
      <dsp:txXfrm>
        <a:off x="958050" y="1435292"/>
        <a:ext cx="930574" cy="1168014"/>
      </dsp:txXfrm>
    </dsp:sp>
    <dsp:sp modelId="{A3821DFB-8C57-8244-A3DF-A0F1FE822143}">
      <dsp:nvSpPr>
        <dsp:cNvPr id="0" name=""/>
        <dsp:cNvSpPr/>
      </dsp:nvSpPr>
      <dsp:spPr>
        <a:xfrm>
          <a:off x="3615" y="1542082"/>
          <a:ext cx="954434" cy="9544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/>
            <a:t>手工业</a:t>
          </a:r>
        </a:p>
      </dsp:txBody>
      <dsp:txXfrm>
        <a:off x="143389" y="1681856"/>
        <a:ext cx="674886" cy="674886"/>
      </dsp:txXfrm>
    </dsp:sp>
    <dsp:sp modelId="{9930C6CB-5742-104E-A40D-7DC90E7E6515}">
      <dsp:nvSpPr>
        <dsp:cNvPr id="0" name=""/>
        <dsp:cNvSpPr/>
      </dsp:nvSpPr>
      <dsp:spPr>
        <a:xfrm>
          <a:off x="2986223" y="1185003"/>
          <a:ext cx="1908869" cy="1668592"/>
        </a:xfrm>
        <a:prstGeom prst="rightArrow">
          <a:avLst>
            <a:gd name="adj1" fmla="val 70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11430" rIns="2286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800" kern="1200" dirty="0"/>
            <a:t>组织力差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800" kern="1200" dirty="0"/>
            <a:t>维护艰难</a:t>
          </a:r>
        </a:p>
      </dsp:txBody>
      <dsp:txXfrm>
        <a:off x="3463441" y="1435292"/>
        <a:ext cx="930574" cy="1168014"/>
      </dsp:txXfrm>
    </dsp:sp>
    <dsp:sp modelId="{043D4B85-2405-C241-8EAE-EB1FE857A368}">
      <dsp:nvSpPr>
        <dsp:cNvPr id="0" name=""/>
        <dsp:cNvSpPr/>
      </dsp:nvSpPr>
      <dsp:spPr>
        <a:xfrm>
          <a:off x="2509006" y="1542082"/>
          <a:ext cx="954434" cy="9544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/>
            <a:t>机器大工业</a:t>
          </a:r>
        </a:p>
      </dsp:txBody>
      <dsp:txXfrm>
        <a:off x="2648780" y="1681856"/>
        <a:ext cx="674886" cy="674886"/>
      </dsp:txXfrm>
    </dsp:sp>
    <dsp:sp modelId="{0E588085-71D0-DB44-9215-6BCADC460760}">
      <dsp:nvSpPr>
        <dsp:cNvPr id="0" name=""/>
        <dsp:cNvSpPr/>
      </dsp:nvSpPr>
      <dsp:spPr>
        <a:xfrm>
          <a:off x="5491615" y="1185003"/>
          <a:ext cx="1908869" cy="1668592"/>
        </a:xfrm>
        <a:prstGeom prst="rightArrow">
          <a:avLst>
            <a:gd name="adj1" fmla="val 70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11430" rIns="2286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800" kern="1200" dirty="0"/>
            <a:t>全方位协同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800" kern="1200" dirty="0"/>
            <a:t>抽象数据处理</a:t>
          </a:r>
        </a:p>
      </dsp:txBody>
      <dsp:txXfrm>
        <a:off x="5968832" y="1435292"/>
        <a:ext cx="930574" cy="1168014"/>
      </dsp:txXfrm>
    </dsp:sp>
    <dsp:sp modelId="{DE21574A-6D39-C747-B2F5-2DBAEE241BD1}">
      <dsp:nvSpPr>
        <dsp:cNvPr id="0" name=""/>
        <dsp:cNvSpPr/>
      </dsp:nvSpPr>
      <dsp:spPr>
        <a:xfrm>
          <a:off x="5014397" y="1542082"/>
          <a:ext cx="954434" cy="9544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/>
            <a:t>智能工业</a:t>
          </a:r>
        </a:p>
      </dsp:txBody>
      <dsp:txXfrm>
        <a:off x="5154171" y="1681856"/>
        <a:ext cx="674886" cy="67488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3CDF73-E4DE-4271-8941-B2B8F9F6895A}">
      <dsp:nvSpPr>
        <dsp:cNvPr id="0" name=""/>
        <dsp:cNvSpPr/>
      </dsp:nvSpPr>
      <dsp:spPr>
        <a:xfrm>
          <a:off x="567916" y="859448"/>
          <a:ext cx="2002312" cy="16514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7145" rIns="17145" bIns="17145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900" kern="1200" dirty="0"/>
            <a:t>沿用既有班级，以班为单位划分任务，班级内部进行职能划分。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900" kern="1200" dirty="0"/>
            <a:t>单独形成批次间贯穿组，指派专人进行批次间信息传递。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900" kern="1200" dirty="0"/>
            <a:t>形成基本人员管理机制。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900" kern="1200" dirty="0"/>
            <a:t>为后续工作打下基础</a:t>
          </a:r>
        </a:p>
      </dsp:txBody>
      <dsp:txXfrm>
        <a:off x="605921" y="897453"/>
        <a:ext cx="1926302" cy="1221588"/>
      </dsp:txXfrm>
    </dsp:sp>
    <dsp:sp modelId="{4225E123-DF6D-44A8-88D4-68576D1AABB8}">
      <dsp:nvSpPr>
        <dsp:cNvPr id="0" name=""/>
        <dsp:cNvSpPr/>
      </dsp:nvSpPr>
      <dsp:spPr>
        <a:xfrm>
          <a:off x="1663768" y="1139093"/>
          <a:ext cx="2380678" cy="2380678"/>
        </a:xfrm>
        <a:prstGeom prst="leftCircularArrow">
          <a:avLst>
            <a:gd name="adj1" fmla="val 3827"/>
            <a:gd name="adj2" fmla="val 478640"/>
            <a:gd name="adj3" fmla="val 2267428"/>
            <a:gd name="adj4" fmla="val 9037767"/>
            <a:gd name="adj5" fmla="val 4465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9CF431-B0B9-4276-BD42-44220B774BAE}">
      <dsp:nvSpPr>
        <dsp:cNvPr id="0" name=""/>
        <dsp:cNvSpPr/>
      </dsp:nvSpPr>
      <dsp:spPr>
        <a:xfrm>
          <a:off x="1012875" y="2157046"/>
          <a:ext cx="1779832" cy="7077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48260" rIns="72390" bIns="4826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3800" kern="1200" dirty="0"/>
            <a:t>第一批</a:t>
          </a:r>
        </a:p>
      </dsp:txBody>
      <dsp:txXfrm>
        <a:off x="1033605" y="2177776"/>
        <a:ext cx="1738372" cy="666320"/>
      </dsp:txXfrm>
    </dsp:sp>
    <dsp:sp modelId="{3252AA43-45BF-4ED5-97E1-8D0B3E5C4C4C}">
      <dsp:nvSpPr>
        <dsp:cNvPr id="0" name=""/>
        <dsp:cNvSpPr/>
      </dsp:nvSpPr>
      <dsp:spPr>
        <a:xfrm>
          <a:off x="3233936" y="866780"/>
          <a:ext cx="2002312" cy="16514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7145" rIns="17145" bIns="17145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900" kern="1200" dirty="0"/>
            <a:t>打破以既有班级为单位，以职能划分为单位进行分组。保留原班级的行政效力。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900" kern="1200" dirty="0"/>
            <a:t>形成宪章框架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900" kern="1200" dirty="0"/>
            <a:t>在一批次的管理机制基础上，建立更加完善的机制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900" kern="1200" dirty="0"/>
            <a:t>基本完成既定任务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zh-CN" altLang="en-US" sz="900" kern="1200" dirty="0"/>
        </a:p>
      </dsp:txBody>
      <dsp:txXfrm>
        <a:off x="3271941" y="1258676"/>
        <a:ext cx="1926302" cy="1221588"/>
      </dsp:txXfrm>
    </dsp:sp>
    <dsp:sp modelId="{D88A8F14-A9F1-4BCF-B1F8-F109C24ACCC6}">
      <dsp:nvSpPr>
        <dsp:cNvPr id="0" name=""/>
        <dsp:cNvSpPr/>
      </dsp:nvSpPr>
      <dsp:spPr>
        <a:xfrm>
          <a:off x="4304249" y="-208332"/>
          <a:ext cx="2628085" cy="2628085"/>
        </a:xfrm>
        <a:prstGeom prst="circularArrow">
          <a:avLst>
            <a:gd name="adj1" fmla="val 3467"/>
            <a:gd name="adj2" fmla="val 429854"/>
            <a:gd name="adj3" fmla="val 19394636"/>
            <a:gd name="adj4" fmla="val 12575511"/>
            <a:gd name="adj5" fmla="val 4045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BBE645-B846-433E-89B7-C784B2B68BE1}">
      <dsp:nvSpPr>
        <dsp:cNvPr id="0" name=""/>
        <dsp:cNvSpPr/>
      </dsp:nvSpPr>
      <dsp:spPr>
        <a:xfrm>
          <a:off x="3671566" y="505557"/>
          <a:ext cx="1779832" cy="7077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48260" rIns="72390" bIns="4826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3800" kern="1200" dirty="0"/>
            <a:t>第二批</a:t>
          </a:r>
        </a:p>
      </dsp:txBody>
      <dsp:txXfrm>
        <a:off x="3692296" y="526287"/>
        <a:ext cx="1738372" cy="666320"/>
      </dsp:txXfrm>
    </dsp:sp>
    <dsp:sp modelId="{B0C1FAF5-2C5F-4272-8D3B-205C76A3D83F}">
      <dsp:nvSpPr>
        <dsp:cNvPr id="0" name=""/>
        <dsp:cNvSpPr/>
      </dsp:nvSpPr>
      <dsp:spPr>
        <a:xfrm>
          <a:off x="5885299" y="859448"/>
          <a:ext cx="2002312" cy="16514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7145" rIns="17145" bIns="17145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900" kern="1200" dirty="0"/>
            <a:t>回归以班级为单位的任务组，班级内部形成职能小组。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900" kern="1200" dirty="0"/>
            <a:t>第二天组织陷入失序状态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900" kern="1200" dirty="0"/>
            <a:t>产出的数字出版物和</a:t>
          </a:r>
          <a:r>
            <a:rPr lang="en-US" altLang="zh-CN" sz="900" kern="1200" dirty="0"/>
            <a:t>XLP</a:t>
          </a:r>
          <a:r>
            <a:rPr lang="zh-CN" altLang="en-US" sz="900" kern="1200" dirty="0"/>
            <a:t>操作手册得到老师认可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900" kern="1200" dirty="0"/>
            <a:t>未完成全部最终任务</a:t>
          </a:r>
        </a:p>
      </dsp:txBody>
      <dsp:txXfrm>
        <a:off x="5923304" y="897453"/>
        <a:ext cx="1926302" cy="1221588"/>
      </dsp:txXfrm>
    </dsp:sp>
    <dsp:sp modelId="{FFAD8052-81EC-4B2B-A561-9365118DBD73}">
      <dsp:nvSpPr>
        <dsp:cNvPr id="0" name=""/>
        <dsp:cNvSpPr/>
      </dsp:nvSpPr>
      <dsp:spPr>
        <a:xfrm>
          <a:off x="6330258" y="2157046"/>
          <a:ext cx="1779832" cy="7077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48260" rIns="72390" bIns="4826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3800" kern="1200" dirty="0"/>
            <a:t>第三批</a:t>
          </a:r>
        </a:p>
      </dsp:txBody>
      <dsp:txXfrm>
        <a:off x="6350988" y="2177776"/>
        <a:ext cx="1738372" cy="6663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6">
  <dgm:title val=""/>
  <dgm:desc val=""/>
  <dgm:catLst>
    <dgm:cat type="process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L"/>
          <dgm:param type="nodeHorzAlign" val="l"/>
        </dgm:alg>
      </dgm:if>
      <dgm:else name="Name2">
        <dgm:alg type="lin">
          <dgm:param type="linDir" val="from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refFor="ch" refForName="compNode" fact="0.7"/>
      <dgm:constr type="ctrY" for="ch" forName="compNode" refType="h" fact="0.5"/>
      <dgm:constr type="w" for="ch" forName="aSpace" refType="w" fact="0.05"/>
      <dgm:constr type="primFontSz" for="des" forName="childTextHidden" op="equ" val="65"/>
      <dgm:constr type="primFontSz" for="des" forName="parentText" op="equ"/>
    </dgm:constrLst>
    <dgm:ruleLst/>
    <dgm:forEach name="aNodeForEach" axis="ch" ptType="node">
      <dgm:layoutNode name="compNode">
        <dgm:alg type="composite">
          <dgm:param type="ar" val="1.43"/>
        </dgm:alg>
        <dgm:shape xmlns:r="http://schemas.openxmlformats.org/officeDocument/2006/relationships" r:blip="">
          <dgm:adjLst/>
        </dgm:shape>
        <dgm:presOf/>
        <dgm:choose name="Name3">
          <dgm:if name="Name4" func="var" arg="dir" op="equ" val="norm">
            <dgm:constrLst>
              <dgm:constr type="w" for="ch" forName="childTextVisible" refType="w" fact="0.8"/>
              <dgm:constr type="h" for="ch" forName="childTextVisible" refType="h"/>
              <dgm:constr type="r" for="ch" forName="childTextVisible" refType="w"/>
              <dgm:constr type="w" for="ch" forName="childTextHidden" refType="w" fact="0.6"/>
              <dgm:constr type="h" for="ch" forName="childTextHidden" refType="h"/>
              <dgm:constr type="r" for="ch" forName="childTextHidden" refType="w"/>
              <dgm:constr type="l" for="ch" forName="parentText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if>
          <dgm:else name="Name5">
            <dgm:constrLst>
              <dgm:constr type="w" for="ch" forName="childTextVisible" refType="w" fact="0.8"/>
              <dgm:constr type="h" for="ch" forName="childTextVisible" refType="h"/>
              <dgm:constr type="l" for="ch" forName="childTextVisible"/>
              <dgm:constr type="w" for="ch" forName="childTextHidden" refType="w" fact="0.6"/>
              <dgm:constr type="h" for="ch" forName="childTextHidden" refType="h"/>
              <dgm:constr type="l" for="ch" forName="childTextHidden"/>
              <dgm:constr type="r" for="ch" forName="parentText" refType="w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else>
        </dgm:choose>
        <dgm:ruleLst/>
        <dgm:layoutNode name="noGeometry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childTextVisible" styleLbl="bgAccFollowNode1">
          <dgm:varLst>
            <dgm:bulletEnabled val="1"/>
          </dgm:varLst>
          <dgm:alg type="sp"/>
          <dgm:choose name="Name6">
            <dgm:if name="Name7" func="var" arg="dir" op="equ" val="norm">
              <dgm:shape xmlns:r="http://schemas.openxmlformats.org/officeDocument/2006/relationships" type="rightArrow" r:blip="">
                <dgm:adjLst>
                  <dgm:adj idx="1" val="0.7"/>
                  <dgm:adj idx="2" val="0.5"/>
                </dgm:adjLst>
              </dgm:shape>
            </dgm:if>
            <dgm:else name="Name8">
              <dgm:shape xmlns:r="http://schemas.openxmlformats.org/officeDocument/2006/relationships" type="leftArrow" r:blip="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/>
          <dgm:ruleLst/>
        </dgm:layoutNode>
        <dgm:layoutNode name="childTextHidden" styleLbl="bgAccFollowNode1">
          <dgm:choose name="Name9">
            <dgm:if name="Name10" axis="des followSib" ptType="node node" st="1 1" cnt="1 0" func="cnt" op="gte" val="1">
              <dgm:alg type="tx">
                <dgm:param type="stBulletLvl" val="1"/>
                <dgm:param type="txAnchorVertCh" val="mid"/>
              </dgm:alg>
            </dgm:if>
            <dgm:else name="Name11">
              <dgm:alg type="tx">
                <dgm:param type="stBulletLvl" val="2"/>
                <dgm:param type="txAnchorVertCh" val="mid"/>
              </dgm:alg>
            </dgm:else>
          </dgm:choose>
          <dgm:choose name="Name12">
            <dgm:if name="Name13" func="var" arg="dir" op="equ" val="norm">
              <dgm:shape xmlns:r="http://schemas.openxmlformats.org/officeDocument/2006/relationships" type="rightArrow" r:blip="" hideGeom="1">
                <dgm:adjLst>
                  <dgm:adj idx="1" val="0.7"/>
                  <dgm:adj idx="2" val="0.5"/>
                </dgm:adjLst>
              </dgm:shape>
            </dgm:if>
            <dgm:else name="Name14">
              <dgm:shape xmlns:r="http://schemas.openxmlformats.org/officeDocument/2006/relationships" type="leftArrow" r:blip="" hideGeom="1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rMarg" refType="primFontSz" fact="0.1"/>
            <dgm:constr type="lMarg" refType="primFontSz" fact="0.2"/>
          </dgm:constrLst>
          <dgm:ruleLst>
            <dgm:rule type="primFontSz" val="5" fact="NaN" max="NaN"/>
          </dgm:ruleLst>
        </dgm:layoutNode>
        <dgm:layoutNode name="parentText" styleLbl="node1">
          <dgm:varLst>
            <dgm:chMax val="1"/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primFontSz" val="65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choose name="Name15">
        <dgm:if name="Name16" axis="self" ptType="node" func="revPos" op="gte" val="2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DE7BF1-3E9B-4EE0-9D8F-D75729565CAE}" type="datetimeFigureOut">
              <a:rPr lang="zh-CN" altLang="en-US" smtClean="0"/>
              <a:t>2019/10/13/Sun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4820B8-5042-4AF4-AD84-240FCB8B928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41856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本页描述的内容应是整个故事板的重要内容提示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9D329F-12A8-42FB-A1F1-8D7FA6F87CAD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827848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31140" y="243841"/>
            <a:ext cx="11724640" cy="6377939"/>
          </a:xfrm>
          <a:prstGeom prst="rect">
            <a:avLst/>
          </a:prstGeom>
          <a:solidFill>
            <a:schemeClr val="accent1"/>
          </a:solidFill>
          <a:ln w="127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09980" y="882376"/>
            <a:ext cx="9966960" cy="2926080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5400" b="1" cap="all" baseline="0">
                <a:solidFill>
                  <a:srgbClr val="FFFFFF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09531" y="3869636"/>
            <a:ext cx="8767860" cy="1388165"/>
          </a:xfrm>
        </p:spPr>
        <p:txBody>
          <a:bodyPr>
            <a:normAutofit/>
          </a:bodyPr>
          <a:lstStyle>
            <a:lvl1pPr marL="0" indent="0" algn="ctr">
              <a:buNone/>
              <a:defRPr sz="1650">
                <a:solidFill>
                  <a:srgbClr val="FFFFFF"/>
                </a:solidFill>
              </a:defRPr>
            </a:lvl1pPr>
            <a:lvl2pPr marL="342900" indent="0" algn="ctr">
              <a:buNone/>
              <a:defRPr sz="1650"/>
            </a:lvl2pPr>
            <a:lvl3pPr marL="685800" indent="0" algn="ctr">
              <a:buNone/>
              <a:defRPr sz="165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19F881D-9EB8-4A61-B64B-C09E422E98CF}" type="datetimeFigureOut">
              <a:rPr lang="zh-CN" altLang="en-US" smtClean="0"/>
              <a:t>2019/10/13/Sun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C9F9B88-7169-4F5A-A4DC-FCDBD453A8AF}" type="slidenum">
              <a:rPr lang="zh-CN" altLang="en-US" smtClean="0"/>
              <a:t>‹#›</a:t>
            </a:fld>
            <a:endParaRPr lang="zh-CN" alt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1978661" y="3733800"/>
            <a:ext cx="8229601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91026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F881D-9EB8-4A61-B64B-C09E422E98CF}" type="datetimeFigureOut">
              <a:rPr lang="zh-CN" altLang="en-US" smtClean="0"/>
              <a:t>2019/10/13/Sun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F9B88-7169-4F5A-A4DC-FCDBD453A8A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28004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324100" cy="5410200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3001" y="762000"/>
            <a:ext cx="7429500" cy="5410200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F881D-9EB8-4A61-B64B-C09E422E98CF}" type="datetimeFigureOut">
              <a:rPr lang="zh-CN" altLang="en-US" smtClean="0"/>
              <a:t>2019/10/13/Sun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F9B88-7169-4F5A-A4DC-FCDBD453A8A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812309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1240835-B325-904C-B6A7-8CAC4AB998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D4C788-7D3D-4745-B1F3-FB8E855A2955}" type="datetimeFigureOut">
              <a:rPr kumimoji="1" lang="zh-CN" altLang="en-US" smtClean="0"/>
              <a:t>2019/10/13/Sun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F14CDD88-A054-B24F-8241-12D72956E4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DC739B5-427F-A24D-BB6D-8ACFD6A453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21D18C-17A4-594F-8C6E-EC4F8D87824F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7" name="内容占位符 6">
            <a:extLst>
              <a:ext uri="{FF2B5EF4-FFF2-40B4-BE49-F238E27FC236}">
                <a16:creationId xmlns:a16="http://schemas.microsoft.com/office/drawing/2014/main" id="{8628CE05-F948-604E-9535-375C89CE98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5707" y="0"/>
            <a:ext cx="121977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1717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SO_BT1"/>
          <p:cNvSpPr>
            <a:spLocks noGrp="1"/>
          </p:cNvSpPr>
          <p:nvPr>
            <p:ph type="title"/>
          </p:nvPr>
        </p:nvSpPr>
        <p:spPr/>
        <p:txBody>
          <a:bodyPr lIns="360000"/>
          <a:lstStyle>
            <a:lvl1pPr marL="0" indent="0">
              <a:defRPr/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4" name="KSO_FD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3D0CE79-49FB-443D-BEF8-6B709DE8FD0C}" type="datetimeFigureOut">
              <a:rPr lang="zh-CN" altLang="en-US" smtClean="0">
                <a:solidFill>
                  <a:srgbClr val="47494B">
                    <a:tint val="75000"/>
                  </a:srgbClr>
                </a:solidFill>
              </a:rPr>
              <a:pPr/>
              <a:t>2019/10/13/Sun</a:t>
            </a:fld>
            <a:endParaRPr lang="zh-CN" altLang="en-US">
              <a:solidFill>
                <a:srgbClr val="47494B">
                  <a:tint val="75000"/>
                </a:srgbClr>
              </a:solidFill>
            </a:endParaRPr>
          </a:p>
        </p:txBody>
      </p:sp>
      <p:sp>
        <p:nvSpPr>
          <p:cNvPr id="5" name="KSO_FT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srgbClr val="47494B">
                  <a:tint val="75000"/>
                </a:srgbClr>
              </a:solidFill>
            </a:endParaRPr>
          </a:p>
        </p:txBody>
      </p:sp>
      <p:sp>
        <p:nvSpPr>
          <p:cNvPr id="6" name="KSO_FN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ECBE3A5-8106-4211-8E5E-556CFB3A6DC2}" type="slidenum">
              <a:rPr lang="zh-CN" altLang="en-US" smtClean="0">
                <a:solidFill>
                  <a:srgbClr val="47494B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47494B">
                  <a:tint val="75000"/>
                </a:srgbClr>
              </a:solidFill>
            </a:endParaRPr>
          </a:p>
        </p:txBody>
      </p:sp>
      <p:sp>
        <p:nvSpPr>
          <p:cNvPr id="9" name="内容占位符 7"/>
          <p:cNvSpPr>
            <a:spLocks noGrp="1"/>
          </p:cNvSpPr>
          <p:nvPr>
            <p:ph sz="quarter" idx="13"/>
          </p:nvPr>
        </p:nvSpPr>
        <p:spPr>
          <a:xfrm>
            <a:off x="558800" y="1027612"/>
            <a:ext cx="11056059" cy="5590902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</a:defRPr>
            </a:lvl1pPr>
            <a:lvl2pPr mar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</a:defRPr>
            </a:lvl2pPr>
            <a:lvl3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</a:defRPr>
            </a:lvl3pPr>
            <a:lvl4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6367448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71" name="组合 9870">
            <a:extLst>
              <a:ext uri="{FF2B5EF4-FFF2-40B4-BE49-F238E27FC236}">
                <a16:creationId xmlns:a16="http://schemas.microsoft.com/office/drawing/2014/main" id="{F6A85891-794C-406A-9A27-BA8F098A81E3}"/>
              </a:ext>
            </a:extLst>
          </p:cNvPr>
          <p:cNvGrpSpPr/>
          <p:nvPr userDrawn="1"/>
        </p:nvGrpSpPr>
        <p:grpSpPr>
          <a:xfrm>
            <a:off x="6306427" y="368969"/>
            <a:ext cx="5133848" cy="6489031"/>
            <a:chOff x="6306427" y="368969"/>
            <a:chExt cx="5133848" cy="6489031"/>
          </a:xfrm>
        </p:grpSpPr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85473C6C-DFD9-44DE-AC82-6DDD6EA11703}"/>
                </a:ext>
              </a:extLst>
            </p:cNvPr>
            <p:cNvSpPr/>
            <p:nvPr/>
          </p:nvSpPr>
          <p:spPr>
            <a:xfrm>
              <a:off x="7002532" y="6218648"/>
              <a:ext cx="3759767" cy="639352"/>
            </a:xfrm>
            <a:custGeom>
              <a:avLst/>
              <a:gdLst>
                <a:gd name="connsiteX0" fmla="*/ 1087278 w 2719388"/>
                <a:gd name="connsiteY0" fmla="*/ 113816 h 428271"/>
                <a:gd name="connsiteX1" fmla="*/ 1087278 w 2719388"/>
                <a:gd name="connsiteY1" fmla="*/ 166450 h 428271"/>
                <a:gd name="connsiteX2" fmla="*/ 1086379 w 2719388"/>
                <a:gd name="connsiteY2" fmla="*/ 180396 h 428271"/>
                <a:gd name="connsiteX3" fmla="*/ 1086828 w 2719388"/>
                <a:gd name="connsiteY3" fmla="*/ 178147 h 428271"/>
                <a:gd name="connsiteX4" fmla="*/ 1092677 w 2719388"/>
                <a:gd name="connsiteY4" fmla="*/ 159252 h 428271"/>
                <a:gd name="connsiteX5" fmla="*/ 1100324 w 2719388"/>
                <a:gd name="connsiteY5" fmla="*/ 133160 h 428271"/>
                <a:gd name="connsiteX6" fmla="*/ 1087278 w 2719388"/>
                <a:gd name="connsiteY6" fmla="*/ 113816 h 428271"/>
                <a:gd name="connsiteX7" fmla="*/ 2629135 w 2719388"/>
                <a:gd name="connsiteY7" fmla="*/ 19119 h 428271"/>
                <a:gd name="connsiteX8" fmla="*/ 2669454 w 2719388"/>
                <a:gd name="connsiteY8" fmla="*/ 23393 h 428271"/>
                <a:gd name="connsiteX9" fmla="*/ 2676201 w 2719388"/>
                <a:gd name="connsiteY9" fmla="*/ 46786 h 428271"/>
                <a:gd name="connsiteX10" fmla="*/ 2689248 w 2719388"/>
                <a:gd name="connsiteY10" fmla="*/ 79176 h 428271"/>
                <a:gd name="connsiteX11" fmla="*/ 2697795 w 2719388"/>
                <a:gd name="connsiteY11" fmla="*/ 62081 h 428271"/>
                <a:gd name="connsiteX12" fmla="*/ 2700944 w 2719388"/>
                <a:gd name="connsiteY12" fmla="*/ 25192 h 428271"/>
                <a:gd name="connsiteX13" fmla="*/ 2707692 w 2719388"/>
                <a:gd name="connsiteY13" fmla="*/ 25642 h 428271"/>
                <a:gd name="connsiteX14" fmla="*/ 2719388 w 2719388"/>
                <a:gd name="connsiteY14" fmla="*/ 123714 h 428271"/>
                <a:gd name="connsiteX15" fmla="*/ 2691947 w 2719388"/>
                <a:gd name="connsiteY15" fmla="*/ 166451 h 428271"/>
                <a:gd name="connsiteX16" fmla="*/ 2691497 w 2719388"/>
                <a:gd name="connsiteY16" fmla="*/ 236180 h 428271"/>
                <a:gd name="connsiteX17" fmla="*/ 2681600 w 2719388"/>
                <a:gd name="connsiteY17" fmla="*/ 426922 h 428271"/>
                <a:gd name="connsiteX18" fmla="*/ 2598374 w 2719388"/>
                <a:gd name="connsiteY18" fmla="*/ 426922 h 428271"/>
                <a:gd name="connsiteX19" fmla="*/ 2606922 w 2719388"/>
                <a:gd name="connsiteY19" fmla="*/ 403529 h 428271"/>
                <a:gd name="connsiteX20" fmla="*/ 2629415 w 2719388"/>
                <a:gd name="connsiteY20" fmla="*/ 309508 h 428271"/>
                <a:gd name="connsiteX21" fmla="*/ 2643362 w 2719388"/>
                <a:gd name="connsiteY21" fmla="*/ 188494 h 428271"/>
                <a:gd name="connsiteX22" fmla="*/ 2636614 w 2719388"/>
                <a:gd name="connsiteY22" fmla="*/ 154754 h 428271"/>
                <a:gd name="connsiteX23" fmla="*/ 2631665 w 2719388"/>
                <a:gd name="connsiteY23" fmla="*/ 112466 h 428271"/>
                <a:gd name="connsiteX24" fmla="*/ 2616820 w 2719388"/>
                <a:gd name="connsiteY24" fmla="*/ 86824 h 428271"/>
                <a:gd name="connsiteX25" fmla="*/ 2619069 w 2719388"/>
                <a:gd name="connsiteY25" fmla="*/ 125063 h 428271"/>
                <a:gd name="connsiteX26" fmla="*/ 2599275 w 2719388"/>
                <a:gd name="connsiteY26" fmla="*/ 157003 h 428271"/>
                <a:gd name="connsiteX27" fmla="*/ 2589377 w 2719388"/>
                <a:gd name="connsiteY27" fmla="*/ 195692 h 428271"/>
                <a:gd name="connsiteX28" fmla="*/ 2589377 w 2719388"/>
                <a:gd name="connsiteY28" fmla="*/ 283415 h 428271"/>
                <a:gd name="connsiteX29" fmla="*/ 2596575 w 2719388"/>
                <a:gd name="connsiteY29" fmla="*/ 340548 h 428271"/>
                <a:gd name="connsiteX30" fmla="*/ 2592976 w 2719388"/>
                <a:gd name="connsiteY30" fmla="*/ 379686 h 428271"/>
                <a:gd name="connsiteX31" fmla="*/ 2584878 w 2719388"/>
                <a:gd name="connsiteY31" fmla="*/ 419724 h 428271"/>
                <a:gd name="connsiteX32" fmla="*/ 2586228 w 2719388"/>
                <a:gd name="connsiteY32" fmla="*/ 427822 h 428271"/>
                <a:gd name="connsiteX33" fmla="*/ 2510200 w 2719388"/>
                <a:gd name="connsiteY33" fmla="*/ 427822 h 428271"/>
                <a:gd name="connsiteX34" fmla="*/ 2516049 w 2719388"/>
                <a:gd name="connsiteY34" fmla="*/ 409378 h 428271"/>
                <a:gd name="connsiteX35" fmla="*/ 2520997 w 2719388"/>
                <a:gd name="connsiteY35" fmla="*/ 314456 h 428271"/>
                <a:gd name="connsiteX36" fmla="*/ 2541691 w 2719388"/>
                <a:gd name="connsiteY36" fmla="*/ 157903 h 428271"/>
                <a:gd name="connsiteX37" fmla="*/ 2521897 w 2719388"/>
                <a:gd name="connsiteY37" fmla="*/ 67029 h 428271"/>
                <a:gd name="connsiteX38" fmla="*/ 2492656 w 2719388"/>
                <a:gd name="connsiteY38" fmla="*/ 58032 h 428271"/>
                <a:gd name="connsiteX39" fmla="*/ 2477810 w 2719388"/>
                <a:gd name="connsiteY39" fmla="*/ 47685 h 428271"/>
                <a:gd name="connsiteX40" fmla="*/ 2507951 w 2719388"/>
                <a:gd name="connsiteY40" fmla="*/ 22493 h 428271"/>
                <a:gd name="connsiteX41" fmla="*/ 2558786 w 2719388"/>
                <a:gd name="connsiteY41" fmla="*/ 28791 h 428271"/>
                <a:gd name="connsiteX42" fmla="*/ 2585778 w 2719388"/>
                <a:gd name="connsiteY42" fmla="*/ 85924 h 428271"/>
                <a:gd name="connsiteX43" fmla="*/ 2602874 w 2719388"/>
                <a:gd name="connsiteY43" fmla="*/ 86374 h 428271"/>
                <a:gd name="connsiteX44" fmla="*/ 2605123 w 2719388"/>
                <a:gd name="connsiteY44" fmla="*/ 69729 h 428271"/>
                <a:gd name="connsiteX45" fmla="*/ 2605123 w 2719388"/>
                <a:gd name="connsiteY45" fmla="*/ 66130 h 428271"/>
                <a:gd name="connsiteX46" fmla="*/ 2581729 w 2719388"/>
                <a:gd name="connsiteY46" fmla="*/ 54883 h 428271"/>
                <a:gd name="connsiteX47" fmla="*/ 2579929 w 2719388"/>
                <a:gd name="connsiteY47" fmla="*/ 36889 h 428271"/>
                <a:gd name="connsiteX48" fmla="*/ 2589827 w 2719388"/>
                <a:gd name="connsiteY48" fmla="*/ 22943 h 428271"/>
                <a:gd name="connsiteX49" fmla="*/ 2629135 w 2719388"/>
                <a:gd name="connsiteY49" fmla="*/ 19119 h 428271"/>
                <a:gd name="connsiteX50" fmla="*/ 1119668 w 2719388"/>
                <a:gd name="connsiteY50" fmla="*/ 13496 h 428271"/>
                <a:gd name="connsiteX51" fmla="*/ 1143961 w 2719388"/>
                <a:gd name="connsiteY51" fmla="*/ 17995 h 428271"/>
                <a:gd name="connsiteX52" fmla="*/ 1158807 w 2719388"/>
                <a:gd name="connsiteY52" fmla="*/ 14846 h 428271"/>
                <a:gd name="connsiteX53" fmla="*/ 1271723 w 2719388"/>
                <a:gd name="connsiteY53" fmla="*/ 14846 h 428271"/>
                <a:gd name="connsiteX54" fmla="*/ 1294666 w 2719388"/>
                <a:gd name="connsiteY54" fmla="*/ 19794 h 428271"/>
                <a:gd name="connsiteX55" fmla="*/ 1298265 w 2719388"/>
                <a:gd name="connsiteY55" fmla="*/ 22943 h 428271"/>
                <a:gd name="connsiteX56" fmla="*/ 1296015 w 2719388"/>
                <a:gd name="connsiteY56" fmla="*/ 32840 h 428271"/>
                <a:gd name="connsiteX57" fmla="*/ 1289717 w 2719388"/>
                <a:gd name="connsiteY57" fmla="*/ 39139 h 428271"/>
                <a:gd name="connsiteX58" fmla="*/ 1284319 w 2719388"/>
                <a:gd name="connsiteY58" fmla="*/ 46336 h 428271"/>
                <a:gd name="connsiteX59" fmla="*/ 1251479 w 2719388"/>
                <a:gd name="connsiteY59" fmla="*/ 54884 h 428271"/>
                <a:gd name="connsiteX60" fmla="*/ 1234384 w 2719388"/>
                <a:gd name="connsiteY60" fmla="*/ 66580 h 428271"/>
                <a:gd name="connsiteX61" fmla="*/ 1219538 w 2719388"/>
                <a:gd name="connsiteY61" fmla="*/ 80076 h 428271"/>
                <a:gd name="connsiteX62" fmla="*/ 1207392 w 2719388"/>
                <a:gd name="connsiteY62" fmla="*/ 100320 h 428271"/>
                <a:gd name="connsiteX63" fmla="*/ 1210541 w 2719388"/>
                <a:gd name="connsiteY63" fmla="*/ 124613 h 428271"/>
                <a:gd name="connsiteX64" fmla="*/ 1210991 w 2719388"/>
                <a:gd name="connsiteY64" fmla="*/ 139008 h 428271"/>
                <a:gd name="connsiteX65" fmla="*/ 1200644 w 2719388"/>
                <a:gd name="connsiteY65" fmla="*/ 147106 h 428271"/>
                <a:gd name="connsiteX66" fmla="*/ 1206042 w 2719388"/>
                <a:gd name="connsiteY66" fmla="*/ 166900 h 428271"/>
                <a:gd name="connsiteX67" fmla="*/ 1201094 w 2719388"/>
                <a:gd name="connsiteY67" fmla="*/ 183095 h 428271"/>
                <a:gd name="connsiteX68" fmla="*/ 1189397 w 2719388"/>
                <a:gd name="connsiteY68" fmla="*/ 243377 h 428271"/>
                <a:gd name="connsiteX69" fmla="*/ 1179501 w 2719388"/>
                <a:gd name="connsiteY69" fmla="*/ 289263 h 428271"/>
                <a:gd name="connsiteX70" fmla="*/ 1186698 w 2719388"/>
                <a:gd name="connsiteY70" fmla="*/ 311307 h 428271"/>
                <a:gd name="connsiteX71" fmla="*/ 1196145 w 2719388"/>
                <a:gd name="connsiteY71" fmla="*/ 379686 h 428271"/>
                <a:gd name="connsiteX72" fmla="*/ 1199745 w 2719388"/>
                <a:gd name="connsiteY72" fmla="*/ 427372 h 428271"/>
                <a:gd name="connsiteX73" fmla="*/ 1029246 w 2719388"/>
                <a:gd name="connsiteY73" fmla="*/ 427372 h 428271"/>
                <a:gd name="connsiteX74" fmla="*/ 1021148 w 2719388"/>
                <a:gd name="connsiteY74" fmla="*/ 419724 h 428271"/>
                <a:gd name="connsiteX75" fmla="*/ 1016200 w 2719388"/>
                <a:gd name="connsiteY75" fmla="*/ 393182 h 428271"/>
                <a:gd name="connsiteX76" fmla="*/ 1007652 w 2719388"/>
                <a:gd name="connsiteY76" fmla="*/ 376087 h 428271"/>
                <a:gd name="connsiteX77" fmla="*/ 1000454 w 2719388"/>
                <a:gd name="connsiteY77" fmla="*/ 337848 h 428271"/>
                <a:gd name="connsiteX78" fmla="*/ 994156 w 2719388"/>
                <a:gd name="connsiteY78" fmla="*/ 295111 h 428271"/>
                <a:gd name="connsiteX79" fmla="*/ 989658 w 2719388"/>
                <a:gd name="connsiteY79" fmla="*/ 264071 h 428271"/>
                <a:gd name="connsiteX80" fmla="*/ 971213 w 2719388"/>
                <a:gd name="connsiteY80" fmla="*/ 163301 h 428271"/>
                <a:gd name="connsiteX81" fmla="*/ 963116 w 2719388"/>
                <a:gd name="connsiteY81" fmla="*/ 96721 h 428271"/>
                <a:gd name="connsiteX82" fmla="*/ 962666 w 2719388"/>
                <a:gd name="connsiteY82" fmla="*/ 73778 h 428271"/>
                <a:gd name="connsiteX83" fmla="*/ 962216 w 2719388"/>
                <a:gd name="connsiteY83" fmla="*/ 54434 h 428271"/>
                <a:gd name="connsiteX84" fmla="*/ 962216 w 2719388"/>
                <a:gd name="connsiteY84" fmla="*/ 47686 h 428271"/>
                <a:gd name="connsiteX85" fmla="*/ 957717 w 2719388"/>
                <a:gd name="connsiteY85" fmla="*/ 25643 h 428271"/>
                <a:gd name="connsiteX86" fmla="*/ 1040492 w 2719388"/>
                <a:gd name="connsiteY86" fmla="*/ 18895 h 428271"/>
                <a:gd name="connsiteX87" fmla="*/ 1044091 w 2719388"/>
                <a:gd name="connsiteY87" fmla="*/ 30141 h 428271"/>
                <a:gd name="connsiteX88" fmla="*/ 1089977 w 2719388"/>
                <a:gd name="connsiteY88" fmla="*/ 21594 h 428271"/>
                <a:gd name="connsiteX89" fmla="*/ 1089977 w 2719388"/>
                <a:gd name="connsiteY89" fmla="*/ 18445 h 428271"/>
                <a:gd name="connsiteX90" fmla="*/ 1119668 w 2719388"/>
                <a:gd name="connsiteY90" fmla="*/ 13496 h 428271"/>
                <a:gd name="connsiteX91" fmla="*/ 1458417 w 2719388"/>
                <a:gd name="connsiteY91" fmla="*/ 9897 h 428271"/>
                <a:gd name="connsiteX92" fmla="*/ 1474612 w 2719388"/>
                <a:gd name="connsiteY92" fmla="*/ 13496 h 428271"/>
                <a:gd name="connsiteX93" fmla="*/ 1480010 w 2719388"/>
                <a:gd name="connsiteY93" fmla="*/ 11247 h 428271"/>
                <a:gd name="connsiteX94" fmla="*/ 1499356 w 2719388"/>
                <a:gd name="connsiteY94" fmla="*/ 13496 h 428271"/>
                <a:gd name="connsiteX95" fmla="*/ 1499356 w 2719388"/>
                <a:gd name="connsiteY95" fmla="*/ 33290 h 428271"/>
                <a:gd name="connsiteX96" fmla="*/ 1501605 w 2719388"/>
                <a:gd name="connsiteY96" fmla="*/ 43637 h 428271"/>
                <a:gd name="connsiteX97" fmla="*/ 1499805 w 2719388"/>
                <a:gd name="connsiteY97" fmla="*/ 53534 h 428271"/>
                <a:gd name="connsiteX98" fmla="*/ 1505654 w 2719388"/>
                <a:gd name="connsiteY98" fmla="*/ 51735 h 428271"/>
                <a:gd name="connsiteX99" fmla="*/ 1509253 w 2719388"/>
                <a:gd name="connsiteY99" fmla="*/ 64780 h 428271"/>
                <a:gd name="connsiteX100" fmla="*/ 1506553 w 2719388"/>
                <a:gd name="connsiteY100" fmla="*/ 69279 h 428271"/>
                <a:gd name="connsiteX101" fmla="*/ 1506103 w 2719388"/>
                <a:gd name="connsiteY101" fmla="*/ 71978 h 428271"/>
                <a:gd name="connsiteX102" fmla="*/ 1523198 w 2719388"/>
                <a:gd name="connsiteY102" fmla="*/ 84575 h 428271"/>
                <a:gd name="connsiteX103" fmla="*/ 1519150 w 2719388"/>
                <a:gd name="connsiteY103" fmla="*/ 148906 h 428271"/>
                <a:gd name="connsiteX104" fmla="*/ 1512402 w 2719388"/>
                <a:gd name="connsiteY104" fmla="*/ 245177 h 428271"/>
                <a:gd name="connsiteX105" fmla="*/ 1522298 w 2719388"/>
                <a:gd name="connsiteY105" fmla="*/ 404879 h 428271"/>
                <a:gd name="connsiteX106" fmla="*/ 1526797 w 2719388"/>
                <a:gd name="connsiteY106" fmla="*/ 425123 h 428271"/>
                <a:gd name="connsiteX107" fmla="*/ 1526797 w 2719388"/>
                <a:gd name="connsiteY107" fmla="*/ 427822 h 428271"/>
                <a:gd name="connsiteX108" fmla="*/ 1402184 w 2719388"/>
                <a:gd name="connsiteY108" fmla="*/ 427822 h 428271"/>
                <a:gd name="connsiteX109" fmla="*/ 1402184 w 2719388"/>
                <a:gd name="connsiteY109" fmla="*/ 422874 h 428271"/>
                <a:gd name="connsiteX110" fmla="*/ 1402184 w 2719388"/>
                <a:gd name="connsiteY110" fmla="*/ 351795 h 428271"/>
                <a:gd name="connsiteX111" fmla="*/ 1397235 w 2719388"/>
                <a:gd name="connsiteY111" fmla="*/ 194792 h 428271"/>
                <a:gd name="connsiteX112" fmla="*/ 1392737 w 2719388"/>
                <a:gd name="connsiteY112" fmla="*/ 138110 h 428271"/>
                <a:gd name="connsiteX113" fmla="*/ 1401284 w 2719388"/>
                <a:gd name="connsiteY113" fmla="*/ 118765 h 428271"/>
                <a:gd name="connsiteX114" fmla="*/ 1402634 w 2719388"/>
                <a:gd name="connsiteY114" fmla="*/ 86824 h 428271"/>
                <a:gd name="connsiteX115" fmla="*/ 1406232 w 2719388"/>
                <a:gd name="connsiteY115" fmla="*/ 62081 h 428271"/>
                <a:gd name="connsiteX116" fmla="*/ 1387788 w 2719388"/>
                <a:gd name="connsiteY116" fmla="*/ 41838 h 428271"/>
                <a:gd name="connsiteX117" fmla="*/ 1382390 w 2719388"/>
                <a:gd name="connsiteY117" fmla="*/ 22043 h 428271"/>
                <a:gd name="connsiteX118" fmla="*/ 1384189 w 2719388"/>
                <a:gd name="connsiteY118" fmla="*/ 13496 h 428271"/>
                <a:gd name="connsiteX119" fmla="*/ 1458417 w 2719388"/>
                <a:gd name="connsiteY119" fmla="*/ 9897 h 428271"/>
                <a:gd name="connsiteX120" fmla="*/ 2242532 w 2719388"/>
                <a:gd name="connsiteY120" fmla="*/ 8098 h 428271"/>
                <a:gd name="connsiteX121" fmla="*/ 2272223 w 2719388"/>
                <a:gd name="connsiteY121" fmla="*/ 10797 h 428271"/>
                <a:gd name="connsiteX122" fmla="*/ 2277622 w 2719388"/>
                <a:gd name="connsiteY122" fmla="*/ 11697 h 428271"/>
                <a:gd name="connsiteX123" fmla="*/ 2287969 w 2719388"/>
                <a:gd name="connsiteY123" fmla="*/ 16645 h 428271"/>
                <a:gd name="connsiteX124" fmla="*/ 2285719 w 2719388"/>
                <a:gd name="connsiteY124" fmla="*/ 41388 h 428271"/>
                <a:gd name="connsiteX125" fmla="*/ 2286169 w 2719388"/>
                <a:gd name="connsiteY125" fmla="*/ 44537 h 428271"/>
                <a:gd name="connsiteX126" fmla="*/ 2296966 w 2719388"/>
                <a:gd name="connsiteY126" fmla="*/ 63431 h 428271"/>
                <a:gd name="connsiteX127" fmla="*/ 2286169 w 2719388"/>
                <a:gd name="connsiteY127" fmla="*/ 93122 h 428271"/>
                <a:gd name="connsiteX128" fmla="*/ 2281670 w 2719388"/>
                <a:gd name="connsiteY128" fmla="*/ 117416 h 428271"/>
                <a:gd name="connsiteX129" fmla="*/ 2277172 w 2719388"/>
                <a:gd name="connsiteY129" fmla="*/ 149806 h 428271"/>
                <a:gd name="connsiteX130" fmla="*/ 2272223 w 2719388"/>
                <a:gd name="connsiteY130" fmla="*/ 181297 h 428271"/>
                <a:gd name="connsiteX131" fmla="*/ 2272673 w 2719388"/>
                <a:gd name="connsiteY131" fmla="*/ 227633 h 428271"/>
                <a:gd name="connsiteX132" fmla="*/ 2269974 w 2719388"/>
                <a:gd name="connsiteY132" fmla="*/ 278917 h 428271"/>
                <a:gd name="connsiteX133" fmla="*/ 2258728 w 2719388"/>
                <a:gd name="connsiteY133" fmla="*/ 331102 h 428271"/>
                <a:gd name="connsiteX134" fmla="*/ 2244332 w 2719388"/>
                <a:gd name="connsiteY134" fmla="*/ 384636 h 428271"/>
                <a:gd name="connsiteX135" fmla="*/ 2226337 w 2719388"/>
                <a:gd name="connsiteY135" fmla="*/ 427822 h 428271"/>
                <a:gd name="connsiteX136" fmla="*/ 2073382 w 2719388"/>
                <a:gd name="connsiteY136" fmla="*/ 427822 h 428271"/>
                <a:gd name="connsiteX137" fmla="*/ 2080580 w 2719388"/>
                <a:gd name="connsiteY137" fmla="*/ 398581 h 428271"/>
                <a:gd name="connsiteX138" fmla="*/ 2105773 w 2719388"/>
                <a:gd name="connsiteY138" fmla="*/ 318056 h 428271"/>
                <a:gd name="connsiteX139" fmla="*/ 2139062 w 2719388"/>
                <a:gd name="connsiteY139" fmla="*/ 217286 h 428271"/>
                <a:gd name="connsiteX140" fmla="*/ 2149409 w 2719388"/>
                <a:gd name="connsiteY140" fmla="*/ 149356 h 428271"/>
                <a:gd name="connsiteX141" fmla="*/ 2164705 w 2719388"/>
                <a:gd name="connsiteY141" fmla="*/ 82775 h 428271"/>
                <a:gd name="connsiteX142" fmla="*/ 2180000 w 2719388"/>
                <a:gd name="connsiteY142" fmla="*/ 57583 h 428271"/>
                <a:gd name="connsiteX143" fmla="*/ 2167404 w 2719388"/>
                <a:gd name="connsiteY143" fmla="*/ 42738 h 428271"/>
                <a:gd name="connsiteX144" fmla="*/ 2160206 w 2719388"/>
                <a:gd name="connsiteY144" fmla="*/ 26542 h 428271"/>
                <a:gd name="connsiteX145" fmla="*/ 2157507 w 2719388"/>
                <a:gd name="connsiteY145" fmla="*/ 15296 h 428271"/>
                <a:gd name="connsiteX146" fmla="*/ 2242532 w 2719388"/>
                <a:gd name="connsiteY146" fmla="*/ 8098 h 428271"/>
                <a:gd name="connsiteX147" fmla="*/ 1679309 w 2719388"/>
                <a:gd name="connsiteY147" fmla="*/ 7704 h 428271"/>
                <a:gd name="connsiteX148" fmla="*/ 1732386 w 2719388"/>
                <a:gd name="connsiteY148" fmla="*/ 15295 h 428271"/>
                <a:gd name="connsiteX149" fmla="*/ 1731936 w 2719388"/>
                <a:gd name="connsiteY149" fmla="*/ 22043 h 428271"/>
                <a:gd name="connsiteX150" fmla="*/ 1728787 w 2719388"/>
                <a:gd name="connsiteY150" fmla="*/ 36439 h 428271"/>
                <a:gd name="connsiteX151" fmla="*/ 1707643 w 2719388"/>
                <a:gd name="connsiteY151" fmla="*/ 43637 h 428271"/>
                <a:gd name="connsiteX152" fmla="*/ 1682451 w 2719388"/>
                <a:gd name="connsiteY152" fmla="*/ 62081 h 428271"/>
                <a:gd name="connsiteX153" fmla="*/ 1689199 w 2719388"/>
                <a:gd name="connsiteY153" fmla="*/ 86374 h 428271"/>
                <a:gd name="connsiteX154" fmla="*/ 1684700 w 2719388"/>
                <a:gd name="connsiteY154" fmla="*/ 112017 h 428271"/>
                <a:gd name="connsiteX155" fmla="*/ 1678852 w 2719388"/>
                <a:gd name="connsiteY155" fmla="*/ 154304 h 428271"/>
                <a:gd name="connsiteX156" fmla="*/ 1680651 w 2719388"/>
                <a:gd name="connsiteY156" fmla="*/ 217735 h 428271"/>
                <a:gd name="connsiteX157" fmla="*/ 1680651 w 2719388"/>
                <a:gd name="connsiteY157" fmla="*/ 237529 h 428271"/>
                <a:gd name="connsiteX158" fmla="*/ 1681101 w 2719388"/>
                <a:gd name="connsiteY158" fmla="*/ 274868 h 428271"/>
                <a:gd name="connsiteX159" fmla="*/ 1683351 w 2719388"/>
                <a:gd name="connsiteY159" fmla="*/ 309058 h 428271"/>
                <a:gd name="connsiteX160" fmla="*/ 1697296 w 2719388"/>
                <a:gd name="connsiteY160" fmla="*/ 426472 h 428271"/>
                <a:gd name="connsiteX161" fmla="*/ 1575832 w 2719388"/>
                <a:gd name="connsiteY161" fmla="*/ 426472 h 428271"/>
                <a:gd name="connsiteX162" fmla="*/ 1576282 w 2719388"/>
                <a:gd name="connsiteY162" fmla="*/ 420624 h 428271"/>
                <a:gd name="connsiteX163" fmla="*/ 1576282 w 2719388"/>
                <a:gd name="connsiteY163" fmla="*/ 386884 h 428271"/>
                <a:gd name="connsiteX164" fmla="*/ 1584379 w 2719388"/>
                <a:gd name="connsiteY164" fmla="*/ 346846 h 428271"/>
                <a:gd name="connsiteX165" fmla="*/ 1579431 w 2719388"/>
                <a:gd name="connsiteY165" fmla="*/ 266770 h 428271"/>
                <a:gd name="connsiteX166" fmla="*/ 1574032 w 2719388"/>
                <a:gd name="connsiteY166" fmla="*/ 133611 h 428271"/>
                <a:gd name="connsiteX167" fmla="*/ 1576732 w 2719388"/>
                <a:gd name="connsiteY167" fmla="*/ 61631 h 428271"/>
                <a:gd name="connsiteX168" fmla="*/ 1572233 w 2719388"/>
                <a:gd name="connsiteY168" fmla="*/ 30591 h 428271"/>
                <a:gd name="connsiteX169" fmla="*/ 1575832 w 2719388"/>
                <a:gd name="connsiteY169" fmla="*/ 23843 h 428271"/>
                <a:gd name="connsiteX170" fmla="*/ 1576282 w 2719388"/>
                <a:gd name="connsiteY170" fmla="*/ 11696 h 428271"/>
                <a:gd name="connsiteX171" fmla="*/ 1606873 w 2719388"/>
                <a:gd name="connsiteY171" fmla="*/ 11696 h 428271"/>
                <a:gd name="connsiteX172" fmla="*/ 1621269 w 2719388"/>
                <a:gd name="connsiteY172" fmla="*/ 14845 h 428271"/>
                <a:gd name="connsiteX173" fmla="*/ 1633415 w 2719388"/>
                <a:gd name="connsiteY173" fmla="*/ 9897 h 428271"/>
                <a:gd name="connsiteX174" fmla="*/ 1679309 w 2719388"/>
                <a:gd name="connsiteY174" fmla="*/ 7704 h 428271"/>
                <a:gd name="connsiteX175" fmla="*/ 22899 w 2719388"/>
                <a:gd name="connsiteY175" fmla="*/ 7648 h 428271"/>
                <a:gd name="connsiteX176" fmla="*/ 29647 w 2719388"/>
                <a:gd name="connsiteY176" fmla="*/ 15746 h 428271"/>
                <a:gd name="connsiteX177" fmla="*/ 53040 w 2719388"/>
                <a:gd name="connsiteY177" fmla="*/ 8548 h 428271"/>
                <a:gd name="connsiteX178" fmla="*/ 109723 w 2719388"/>
                <a:gd name="connsiteY178" fmla="*/ 8548 h 428271"/>
                <a:gd name="connsiteX179" fmla="*/ 126368 w 2719388"/>
                <a:gd name="connsiteY179" fmla="*/ 22944 h 428271"/>
                <a:gd name="connsiteX180" fmla="*/ 111073 w 2719388"/>
                <a:gd name="connsiteY180" fmla="*/ 39139 h 428271"/>
                <a:gd name="connsiteX181" fmla="*/ 102076 w 2719388"/>
                <a:gd name="connsiteY181" fmla="*/ 45887 h 428271"/>
                <a:gd name="connsiteX182" fmla="*/ 88580 w 2719388"/>
                <a:gd name="connsiteY182" fmla="*/ 63881 h 428271"/>
                <a:gd name="connsiteX183" fmla="*/ 75534 w 2719388"/>
                <a:gd name="connsiteY183" fmla="*/ 157003 h 428271"/>
                <a:gd name="connsiteX184" fmla="*/ 108374 w 2719388"/>
                <a:gd name="connsiteY184" fmla="*/ 294662 h 428271"/>
                <a:gd name="connsiteX185" fmla="*/ 121420 w 2719388"/>
                <a:gd name="connsiteY185" fmla="*/ 358093 h 428271"/>
                <a:gd name="connsiteX186" fmla="*/ 136715 w 2719388"/>
                <a:gd name="connsiteY186" fmla="*/ 389583 h 428271"/>
                <a:gd name="connsiteX187" fmla="*/ 139414 w 2719388"/>
                <a:gd name="connsiteY187" fmla="*/ 376987 h 428271"/>
                <a:gd name="connsiteX188" fmla="*/ 128617 w 2719388"/>
                <a:gd name="connsiteY188" fmla="*/ 281616 h 428271"/>
                <a:gd name="connsiteX189" fmla="*/ 127268 w 2719388"/>
                <a:gd name="connsiteY189" fmla="*/ 157003 h 428271"/>
                <a:gd name="connsiteX190" fmla="*/ 118720 w 2719388"/>
                <a:gd name="connsiteY190" fmla="*/ 108868 h 428271"/>
                <a:gd name="connsiteX191" fmla="*/ 113322 w 2719388"/>
                <a:gd name="connsiteY191" fmla="*/ 99421 h 428271"/>
                <a:gd name="connsiteX192" fmla="*/ 107924 w 2719388"/>
                <a:gd name="connsiteY192" fmla="*/ 64781 h 428271"/>
                <a:gd name="connsiteX193" fmla="*/ 130417 w 2719388"/>
                <a:gd name="connsiteY193" fmla="*/ 14396 h 428271"/>
                <a:gd name="connsiteX194" fmla="*/ 142113 w 2719388"/>
                <a:gd name="connsiteY194" fmla="*/ 13047 h 428271"/>
                <a:gd name="connsiteX195" fmla="*/ 144363 w 2719388"/>
                <a:gd name="connsiteY195" fmla="*/ 19795 h 428271"/>
                <a:gd name="connsiteX196" fmla="*/ 156959 w 2719388"/>
                <a:gd name="connsiteY196" fmla="*/ 12597 h 428271"/>
                <a:gd name="connsiteX197" fmla="*/ 209144 w 2719388"/>
                <a:gd name="connsiteY197" fmla="*/ 12597 h 428271"/>
                <a:gd name="connsiteX198" fmla="*/ 217242 w 2719388"/>
                <a:gd name="connsiteY198" fmla="*/ 20694 h 428271"/>
                <a:gd name="connsiteX199" fmla="*/ 192499 w 2719388"/>
                <a:gd name="connsiteY199" fmla="*/ 48136 h 428271"/>
                <a:gd name="connsiteX200" fmla="*/ 190700 w 2719388"/>
                <a:gd name="connsiteY200" fmla="*/ 50835 h 428271"/>
                <a:gd name="connsiteX201" fmla="*/ 172705 w 2719388"/>
                <a:gd name="connsiteY201" fmla="*/ 104819 h 428271"/>
                <a:gd name="connsiteX202" fmla="*/ 190700 w 2719388"/>
                <a:gd name="connsiteY202" fmla="*/ 231681 h 428271"/>
                <a:gd name="connsiteX203" fmla="*/ 210944 w 2719388"/>
                <a:gd name="connsiteY203" fmla="*/ 387334 h 428271"/>
                <a:gd name="connsiteX204" fmla="*/ 216792 w 2719388"/>
                <a:gd name="connsiteY204" fmla="*/ 415675 h 428271"/>
                <a:gd name="connsiteX205" fmla="*/ 217692 w 2719388"/>
                <a:gd name="connsiteY205" fmla="*/ 426022 h 428271"/>
                <a:gd name="connsiteX206" fmla="*/ 68336 w 2719388"/>
                <a:gd name="connsiteY206" fmla="*/ 426022 h 428271"/>
                <a:gd name="connsiteX207" fmla="*/ 38195 w 2719388"/>
                <a:gd name="connsiteY207" fmla="*/ 354044 h 428271"/>
                <a:gd name="connsiteX208" fmla="*/ 29647 w 2719388"/>
                <a:gd name="connsiteY208" fmla="*/ 209188 h 428271"/>
                <a:gd name="connsiteX209" fmla="*/ 30997 w 2719388"/>
                <a:gd name="connsiteY209" fmla="*/ 148006 h 428271"/>
                <a:gd name="connsiteX210" fmla="*/ 19300 w 2719388"/>
                <a:gd name="connsiteY210" fmla="*/ 106619 h 428271"/>
                <a:gd name="connsiteX211" fmla="*/ 14802 w 2719388"/>
                <a:gd name="connsiteY211" fmla="*/ 100770 h 428271"/>
                <a:gd name="connsiteX212" fmla="*/ 856 w 2719388"/>
                <a:gd name="connsiteY212" fmla="*/ 62982 h 428271"/>
                <a:gd name="connsiteX213" fmla="*/ 14802 w 2719388"/>
                <a:gd name="connsiteY213" fmla="*/ 9898 h 428271"/>
                <a:gd name="connsiteX214" fmla="*/ 1939147 w 2719388"/>
                <a:gd name="connsiteY214" fmla="*/ 7127 h 428271"/>
                <a:gd name="connsiteX215" fmla="*/ 1964066 w 2719388"/>
                <a:gd name="connsiteY215" fmla="*/ 8098 h 428271"/>
                <a:gd name="connsiteX216" fmla="*/ 2017600 w 2719388"/>
                <a:gd name="connsiteY216" fmla="*/ 13046 h 428271"/>
                <a:gd name="connsiteX217" fmla="*/ 2018500 w 2719388"/>
                <a:gd name="connsiteY217" fmla="*/ 7198 h 428271"/>
                <a:gd name="connsiteX218" fmla="*/ 2066635 w 2719388"/>
                <a:gd name="connsiteY218" fmla="*/ 12596 h 428271"/>
                <a:gd name="connsiteX219" fmla="*/ 2066635 w 2719388"/>
                <a:gd name="connsiteY219" fmla="*/ 25192 h 428271"/>
                <a:gd name="connsiteX220" fmla="*/ 2059437 w 2719388"/>
                <a:gd name="connsiteY220" fmla="*/ 82775 h 428271"/>
                <a:gd name="connsiteX221" fmla="*/ 2056738 w 2719388"/>
                <a:gd name="connsiteY221" fmla="*/ 103469 h 428271"/>
                <a:gd name="connsiteX222" fmla="*/ 2055388 w 2719388"/>
                <a:gd name="connsiteY222" fmla="*/ 144856 h 428271"/>
                <a:gd name="connsiteX223" fmla="*/ 2054939 w 2719388"/>
                <a:gd name="connsiteY223" fmla="*/ 148005 h 428271"/>
                <a:gd name="connsiteX224" fmla="*/ 2054939 w 2719388"/>
                <a:gd name="connsiteY224" fmla="*/ 156103 h 428271"/>
                <a:gd name="connsiteX225" fmla="*/ 2049990 w 2719388"/>
                <a:gd name="connsiteY225" fmla="*/ 281615 h 428271"/>
                <a:gd name="connsiteX226" fmla="*/ 2049990 w 2719388"/>
                <a:gd name="connsiteY226" fmla="*/ 283415 h 428271"/>
                <a:gd name="connsiteX227" fmla="*/ 2049090 w 2719388"/>
                <a:gd name="connsiteY227" fmla="*/ 302759 h 428271"/>
                <a:gd name="connsiteX228" fmla="*/ 2046391 w 2719388"/>
                <a:gd name="connsiteY228" fmla="*/ 326152 h 428271"/>
                <a:gd name="connsiteX229" fmla="*/ 2045491 w 2719388"/>
                <a:gd name="connsiteY229" fmla="*/ 336948 h 428271"/>
                <a:gd name="connsiteX230" fmla="*/ 2041443 w 2719388"/>
                <a:gd name="connsiteY230" fmla="*/ 352694 h 428271"/>
                <a:gd name="connsiteX231" fmla="*/ 2040993 w 2719388"/>
                <a:gd name="connsiteY231" fmla="*/ 358992 h 428271"/>
                <a:gd name="connsiteX232" fmla="*/ 2039643 w 2719388"/>
                <a:gd name="connsiteY232" fmla="*/ 382835 h 428271"/>
                <a:gd name="connsiteX233" fmla="*/ 2042792 w 2719388"/>
                <a:gd name="connsiteY233" fmla="*/ 397680 h 428271"/>
                <a:gd name="connsiteX234" fmla="*/ 2047291 w 2719388"/>
                <a:gd name="connsiteY234" fmla="*/ 427821 h 428271"/>
                <a:gd name="connsiteX235" fmla="*/ 1901534 w 2719388"/>
                <a:gd name="connsiteY235" fmla="*/ 427821 h 428271"/>
                <a:gd name="connsiteX236" fmla="*/ 1912330 w 2719388"/>
                <a:gd name="connsiteY236" fmla="*/ 285214 h 428271"/>
                <a:gd name="connsiteX237" fmla="*/ 1939322 w 2719388"/>
                <a:gd name="connsiteY237" fmla="*/ 137658 h 428271"/>
                <a:gd name="connsiteX238" fmla="*/ 1940222 w 2719388"/>
                <a:gd name="connsiteY238" fmla="*/ 114715 h 428271"/>
                <a:gd name="connsiteX239" fmla="*/ 1944721 w 2719388"/>
                <a:gd name="connsiteY239" fmla="*/ 93572 h 428271"/>
                <a:gd name="connsiteX240" fmla="*/ 1935723 w 2719388"/>
                <a:gd name="connsiteY240" fmla="*/ 71978 h 428271"/>
                <a:gd name="connsiteX241" fmla="*/ 1926726 w 2719388"/>
                <a:gd name="connsiteY241" fmla="*/ 58932 h 428271"/>
                <a:gd name="connsiteX242" fmla="*/ 1897485 w 2719388"/>
                <a:gd name="connsiteY242" fmla="*/ 44986 h 428271"/>
                <a:gd name="connsiteX243" fmla="*/ 1860596 w 2719388"/>
                <a:gd name="connsiteY243" fmla="*/ 41388 h 428271"/>
                <a:gd name="connsiteX244" fmla="*/ 1848000 w 2719388"/>
                <a:gd name="connsiteY244" fmla="*/ 24293 h 428271"/>
                <a:gd name="connsiteX245" fmla="*/ 1843051 w 2719388"/>
                <a:gd name="connsiteY245" fmla="*/ 18894 h 428271"/>
                <a:gd name="connsiteX246" fmla="*/ 1939147 w 2719388"/>
                <a:gd name="connsiteY246" fmla="*/ 7127 h 428271"/>
                <a:gd name="connsiteX247" fmla="*/ 383690 w 2719388"/>
                <a:gd name="connsiteY247" fmla="*/ 3599 h 428271"/>
                <a:gd name="connsiteX248" fmla="*/ 506953 w 2719388"/>
                <a:gd name="connsiteY248" fmla="*/ 3599 h 428271"/>
                <a:gd name="connsiteX249" fmla="*/ 515950 w 2719388"/>
                <a:gd name="connsiteY249" fmla="*/ 4949 h 428271"/>
                <a:gd name="connsiteX250" fmla="*/ 515051 w 2719388"/>
                <a:gd name="connsiteY250" fmla="*/ 27892 h 428271"/>
                <a:gd name="connsiteX251" fmla="*/ 512801 w 2719388"/>
                <a:gd name="connsiteY251" fmla="*/ 39588 h 428271"/>
                <a:gd name="connsiteX252" fmla="*/ 519099 w 2719388"/>
                <a:gd name="connsiteY252" fmla="*/ 55783 h 428271"/>
                <a:gd name="connsiteX253" fmla="*/ 523598 w 2719388"/>
                <a:gd name="connsiteY253" fmla="*/ 70629 h 428271"/>
                <a:gd name="connsiteX254" fmla="*/ 524948 w 2719388"/>
                <a:gd name="connsiteY254" fmla="*/ 79626 h 428271"/>
                <a:gd name="connsiteX255" fmla="*/ 524498 w 2719388"/>
                <a:gd name="connsiteY255" fmla="*/ 88623 h 428271"/>
                <a:gd name="connsiteX256" fmla="*/ 522248 w 2719388"/>
                <a:gd name="connsiteY256" fmla="*/ 117415 h 428271"/>
                <a:gd name="connsiteX257" fmla="*/ 515950 w 2719388"/>
                <a:gd name="connsiteY257" fmla="*/ 139908 h 428271"/>
                <a:gd name="connsiteX258" fmla="*/ 512801 w 2719388"/>
                <a:gd name="connsiteY258" fmla="*/ 168249 h 428271"/>
                <a:gd name="connsiteX259" fmla="*/ 520449 w 2719388"/>
                <a:gd name="connsiteY259" fmla="*/ 218184 h 428271"/>
                <a:gd name="connsiteX260" fmla="*/ 531246 w 2719388"/>
                <a:gd name="connsiteY260" fmla="*/ 311306 h 428271"/>
                <a:gd name="connsiteX261" fmla="*/ 533495 w 2719388"/>
                <a:gd name="connsiteY261" fmla="*/ 428271 h 428271"/>
                <a:gd name="connsiteX262" fmla="*/ 412032 w 2719388"/>
                <a:gd name="connsiteY262" fmla="*/ 428271 h 428271"/>
                <a:gd name="connsiteX263" fmla="*/ 414281 w 2719388"/>
                <a:gd name="connsiteY263" fmla="*/ 402629 h 428271"/>
                <a:gd name="connsiteX264" fmla="*/ 415630 w 2719388"/>
                <a:gd name="connsiteY264" fmla="*/ 384184 h 428271"/>
                <a:gd name="connsiteX265" fmla="*/ 413381 w 2719388"/>
                <a:gd name="connsiteY265" fmla="*/ 333350 h 428271"/>
                <a:gd name="connsiteX266" fmla="*/ 413381 w 2719388"/>
                <a:gd name="connsiteY266" fmla="*/ 231230 h 428271"/>
                <a:gd name="connsiteX267" fmla="*/ 423728 w 2719388"/>
                <a:gd name="connsiteY267" fmla="*/ 138109 h 428271"/>
                <a:gd name="connsiteX268" fmla="*/ 430476 w 2719388"/>
                <a:gd name="connsiteY268" fmla="*/ 119664 h 428271"/>
                <a:gd name="connsiteX269" fmla="*/ 412032 w 2719388"/>
                <a:gd name="connsiteY269" fmla="*/ 88623 h 428271"/>
                <a:gd name="connsiteX270" fmla="*/ 409782 w 2719388"/>
                <a:gd name="connsiteY270" fmla="*/ 58932 h 428271"/>
                <a:gd name="connsiteX271" fmla="*/ 394937 w 2719388"/>
                <a:gd name="connsiteY271" fmla="*/ 41837 h 428271"/>
                <a:gd name="connsiteX272" fmla="*/ 361647 w 2719388"/>
                <a:gd name="connsiteY272" fmla="*/ 34640 h 428271"/>
                <a:gd name="connsiteX273" fmla="*/ 355799 w 2719388"/>
                <a:gd name="connsiteY273" fmla="*/ 23393 h 428271"/>
                <a:gd name="connsiteX274" fmla="*/ 351300 w 2719388"/>
                <a:gd name="connsiteY274" fmla="*/ 15295 h 428271"/>
                <a:gd name="connsiteX275" fmla="*/ 383690 w 2719388"/>
                <a:gd name="connsiteY275" fmla="*/ 3599 h 428271"/>
                <a:gd name="connsiteX276" fmla="*/ 762026 w 2719388"/>
                <a:gd name="connsiteY276" fmla="*/ 0 h 428271"/>
                <a:gd name="connsiteX277" fmla="*/ 783620 w 2719388"/>
                <a:gd name="connsiteY277" fmla="*/ 31940 h 428271"/>
                <a:gd name="connsiteX278" fmla="*/ 771923 w 2719388"/>
                <a:gd name="connsiteY278" fmla="*/ 46786 h 428271"/>
                <a:gd name="connsiteX279" fmla="*/ 762926 w 2719388"/>
                <a:gd name="connsiteY279" fmla="*/ 63881 h 428271"/>
                <a:gd name="connsiteX280" fmla="*/ 762026 w 2719388"/>
                <a:gd name="connsiteY280" fmla="*/ 98070 h 428271"/>
                <a:gd name="connsiteX281" fmla="*/ 744931 w 2719388"/>
                <a:gd name="connsiteY281" fmla="*/ 126863 h 428271"/>
                <a:gd name="connsiteX282" fmla="*/ 753029 w 2719388"/>
                <a:gd name="connsiteY282" fmla="*/ 243378 h 428271"/>
                <a:gd name="connsiteX283" fmla="*/ 729186 w 2719388"/>
                <a:gd name="connsiteY283" fmla="*/ 398581 h 428271"/>
                <a:gd name="connsiteX284" fmla="*/ 729636 w 2719388"/>
                <a:gd name="connsiteY284" fmla="*/ 427372 h 428271"/>
                <a:gd name="connsiteX285" fmla="*/ 609972 w 2719388"/>
                <a:gd name="connsiteY285" fmla="*/ 427372 h 428271"/>
                <a:gd name="connsiteX286" fmla="*/ 624368 w 2719388"/>
                <a:gd name="connsiteY286" fmla="*/ 327952 h 428271"/>
                <a:gd name="connsiteX287" fmla="*/ 631565 w 2719388"/>
                <a:gd name="connsiteY287" fmla="*/ 216386 h 428271"/>
                <a:gd name="connsiteX288" fmla="*/ 635614 w 2719388"/>
                <a:gd name="connsiteY288" fmla="*/ 164202 h 428271"/>
                <a:gd name="connsiteX289" fmla="*/ 643262 w 2719388"/>
                <a:gd name="connsiteY289" fmla="*/ 106168 h 428271"/>
                <a:gd name="connsiteX290" fmla="*/ 654059 w 2719388"/>
                <a:gd name="connsiteY290" fmla="*/ 72428 h 428271"/>
                <a:gd name="connsiteX291" fmla="*/ 654059 w 2719388"/>
                <a:gd name="connsiteY291" fmla="*/ 69729 h 428271"/>
                <a:gd name="connsiteX292" fmla="*/ 656308 w 2719388"/>
                <a:gd name="connsiteY292" fmla="*/ 55783 h 428271"/>
                <a:gd name="connsiteX293" fmla="*/ 659457 w 2719388"/>
                <a:gd name="connsiteY293" fmla="*/ 52184 h 428271"/>
                <a:gd name="connsiteX294" fmla="*/ 673853 w 2719388"/>
                <a:gd name="connsiteY294" fmla="*/ 36889 h 428271"/>
                <a:gd name="connsiteX295" fmla="*/ 672953 w 2719388"/>
                <a:gd name="connsiteY295" fmla="*/ 28341 h 428271"/>
                <a:gd name="connsiteX296" fmla="*/ 671154 w 2719388"/>
                <a:gd name="connsiteY296" fmla="*/ 14845 h 428271"/>
                <a:gd name="connsiteX297" fmla="*/ 672503 w 2719388"/>
                <a:gd name="connsiteY297" fmla="*/ 900 h 428271"/>
                <a:gd name="connsiteX298" fmla="*/ 762026 w 2719388"/>
                <a:gd name="connsiteY298" fmla="*/ 0 h 42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</a:cxnLst>
              <a:rect l="l" t="t" r="r" b="b"/>
              <a:pathLst>
                <a:path w="2719388" h="428271">
                  <a:moveTo>
                    <a:pt x="1087278" y="113816"/>
                  </a:moveTo>
                  <a:cubicBezTo>
                    <a:pt x="1087278" y="113816"/>
                    <a:pt x="1087728" y="154753"/>
                    <a:pt x="1087278" y="166450"/>
                  </a:cubicBezTo>
                  <a:cubicBezTo>
                    <a:pt x="1086828" y="173648"/>
                    <a:pt x="1086828" y="178147"/>
                    <a:pt x="1086379" y="180396"/>
                  </a:cubicBezTo>
                  <a:cubicBezTo>
                    <a:pt x="1086379" y="179496"/>
                    <a:pt x="1086828" y="178597"/>
                    <a:pt x="1086828" y="178147"/>
                  </a:cubicBezTo>
                  <a:cubicBezTo>
                    <a:pt x="1087728" y="172748"/>
                    <a:pt x="1089977" y="163751"/>
                    <a:pt x="1092677" y="159252"/>
                  </a:cubicBezTo>
                  <a:cubicBezTo>
                    <a:pt x="1096725" y="152504"/>
                    <a:pt x="1100774" y="139908"/>
                    <a:pt x="1100324" y="133160"/>
                  </a:cubicBezTo>
                  <a:cubicBezTo>
                    <a:pt x="1099875" y="126412"/>
                    <a:pt x="1087278" y="113816"/>
                    <a:pt x="1087278" y="113816"/>
                  </a:cubicBezTo>
                  <a:close/>
                  <a:moveTo>
                    <a:pt x="2629135" y="19119"/>
                  </a:moveTo>
                  <a:cubicBezTo>
                    <a:pt x="2645499" y="18332"/>
                    <a:pt x="2662031" y="18895"/>
                    <a:pt x="2669454" y="23393"/>
                  </a:cubicBezTo>
                  <a:cubicBezTo>
                    <a:pt x="2669454" y="23393"/>
                    <a:pt x="2676201" y="32840"/>
                    <a:pt x="2676201" y="46786"/>
                  </a:cubicBezTo>
                  <a:cubicBezTo>
                    <a:pt x="2676201" y="60732"/>
                    <a:pt x="2683849" y="75577"/>
                    <a:pt x="2689248" y="79176"/>
                  </a:cubicBezTo>
                  <a:cubicBezTo>
                    <a:pt x="2694646" y="82775"/>
                    <a:pt x="2696445" y="75127"/>
                    <a:pt x="2697795" y="62081"/>
                  </a:cubicBezTo>
                  <a:cubicBezTo>
                    <a:pt x="2699144" y="49035"/>
                    <a:pt x="2700944" y="25192"/>
                    <a:pt x="2700944" y="25192"/>
                  </a:cubicBezTo>
                  <a:lnTo>
                    <a:pt x="2707692" y="25642"/>
                  </a:lnTo>
                  <a:cubicBezTo>
                    <a:pt x="2707692" y="25642"/>
                    <a:pt x="2710391" y="101219"/>
                    <a:pt x="2719388" y="123714"/>
                  </a:cubicBezTo>
                  <a:cubicBezTo>
                    <a:pt x="2719388" y="123714"/>
                    <a:pt x="2713540" y="153405"/>
                    <a:pt x="2691947" y="166451"/>
                  </a:cubicBezTo>
                  <a:cubicBezTo>
                    <a:pt x="2691947" y="166451"/>
                    <a:pt x="2684749" y="183545"/>
                    <a:pt x="2691497" y="236180"/>
                  </a:cubicBezTo>
                  <a:cubicBezTo>
                    <a:pt x="2697795" y="287014"/>
                    <a:pt x="2700944" y="361692"/>
                    <a:pt x="2681600" y="426922"/>
                  </a:cubicBezTo>
                  <a:lnTo>
                    <a:pt x="2598374" y="426922"/>
                  </a:lnTo>
                  <a:cubicBezTo>
                    <a:pt x="2602424" y="418825"/>
                    <a:pt x="2605573" y="409378"/>
                    <a:pt x="2606922" y="403529"/>
                  </a:cubicBezTo>
                  <a:cubicBezTo>
                    <a:pt x="2609172" y="393182"/>
                    <a:pt x="2608722" y="400380"/>
                    <a:pt x="2629415" y="309508"/>
                  </a:cubicBezTo>
                  <a:cubicBezTo>
                    <a:pt x="2650110" y="218635"/>
                    <a:pt x="2645161" y="205139"/>
                    <a:pt x="2643362" y="188494"/>
                  </a:cubicBezTo>
                  <a:cubicBezTo>
                    <a:pt x="2641562" y="171849"/>
                    <a:pt x="2638413" y="166451"/>
                    <a:pt x="2636614" y="154754"/>
                  </a:cubicBezTo>
                  <a:cubicBezTo>
                    <a:pt x="2634814" y="143058"/>
                    <a:pt x="2634814" y="120563"/>
                    <a:pt x="2631665" y="112466"/>
                  </a:cubicBezTo>
                  <a:cubicBezTo>
                    <a:pt x="2628516" y="104818"/>
                    <a:pt x="2617269" y="84574"/>
                    <a:pt x="2616820" y="86824"/>
                  </a:cubicBezTo>
                  <a:cubicBezTo>
                    <a:pt x="2615920" y="89523"/>
                    <a:pt x="2619519" y="104818"/>
                    <a:pt x="2619069" y="125063"/>
                  </a:cubicBezTo>
                  <a:cubicBezTo>
                    <a:pt x="2618169" y="145307"/>
                    <a:pt x="2599275" y="157003"/>
                    <a:pt x="2599275" y="157003"/>
                  </a:cubicBezTo>
                  <a:cubicBezTo>
                    <a:pt x="2599275" y="157003"/>
                    <a:pt x="2591626" y="174998"/>
                    <a:pt x="2589377" y="195692"/>
                  </a:cubicBezTo>
                  <a:cubicBezTo>
                    <a:pt x="2587128" y="216386"/>
                    <a:pt x="2589377" y="263621"/>
                    <a:pt x="2589377" y="283415"/>
                  </a:cubicBezTo>
                  <a:cubicBezTo>
                    <a:pt x="2589377" y="303209"/>
                    <a:pt x="2596125" y="328852"/>
                    <a:pt x="2596575" y="340548"/>
                  </a:cubicBezTo>
                  <a:cubicBezTo>
                    <a:pt x="2597474" y="352245"/>
                    <a:pt x="2595225" y="370689"/>
                    <a:pt x="2592976" y="379686"/>
                  </a:cubicBezTo>
                  <a:cubicBezTo>
                    <a:pt x="2590276" y="389134"/>
                    <a:pt x="2586228" y="409378"/>
                    <a:pt x="2584878" y="419724"/>
                  </a:cubicBezTo>
                  <a:cubicBezTo>
                    <a:pt x="2584428" y="422423"/>
                    <a:pt x="2584428" y="425123"/>
                    <a:pt x="2586228" y="427822"/>
                  </a:cubicBezTo>
                  <a:lnTo>
                    <a:pt x="2510200" y="427822"/>
                  </a:lnTo>
                  <a:cubicBezTo>
                    <a:pt x="2513350" y="421524"/>
                    <a:pt x="2516049" y="415675"/>
                    <a:pt x="2516049" y="409378"/>
                  </a:cubicBezTo>
                  <a:cubicBezTo>
                    <a:pt x="2516049" y="401730"/>
                    <a:pt x="2514699" y="339649"/>
                    <a:pt x="2520997" y="314456"/>
                  </a:cubicBezTo>
                  <a:cubicBezTo>
                    <a:pt x="2526846" y="289264"/>
                    <a:pt x="2543041" y="206488"/>
                    <a:pt x="2541691" y="157903"/>
                  </a:cubicBezTo>
                  <a:cubicBezTo>
                    <a:pt x="2540342" y="109317"/>
                    <a:pt x="2529095" y="77377"/>
                    <a:pt x="2521897" y="67029"/>
                  </a:cubicBezTo>
                  <a:cubicBezTo>
                    <a:pt x="2521897" y="67029"/>
                    <a:pt x="2516049" y="59382"/>
                    <a:pt x="2492656" y="58032"/>
                  </a:cubicBezTo>
                  <a:cubicBezTo>
                    <a:pt x="2492656" y="58032"/>
                    <a:pt x="2478260" y="59382"/>
                    <a:pt x="2477810" y="47685"/>
                  </a:cubicBezTo>
                  <a:cubicBezTo>
                    <a:pt x="2477361" y="35989"/>
                    <a:pt x="2480509" y="22493"/>
                    <a:pt x="2507951" y="22493"/>
                  </a:cubicBezTo>
                  <a:cubicBezTo>
                    <a:pt x="2535393" y="22493"/>
                    <a:pt x="2554287" y="20693"/>
                    <a:pt x="2558786" y="28791"/>
                  </a:cubicBezTo>
                  <a:cubicBezTo>
                    <a:pt x="2563285" y="36889"/>
                    <a:pt x="2571832" y="72428"/>
                    <a:pt x="2585778" y="85924"/>
                  </a:cubicBezTo>
                  <a:cubicBezTo>
                    <a:pt x="2599724" y="99420"/>
                    <a:pt x="2599724" y="98070"/>
                    <a:pt x="2602874" y="86374"/>
                  </a:cubicBezTo>
                  <a:cubicBezTo>
                    <a:pt x="2605573" y="74677"/>
                    <a:pt x="2605123" y="69729"/>
                    <a:pt x="2605123" y="69729"/>
                  </a:cubicBezTo>
                  <a:cubicBezTo>
                    <a:pt x="2605123" y="69729"/>
                    <a:pt x="2609622" y="68379"/>
                    <a:pt x="2605123" y="66130"/>
                  </a:cubicBezTo>
                  <a:cubicBezTo>
                    <a:pt x="2600625" y="63431"/>
                    <a:pt x="2586228" y="60281"/>
                    <a:pt x="2581729" y="54883"/>
                  </a:cubicBezTo>
                  <a:cubicBezTo>
                    <a:pt x="2577680" y="49035"/>
                    <a:pt x="2576781" y="41387"/>
                    <a:pt x="2579929" y="36889"/>
                  </a:cubicBezTo>
                  <a:cubicBezTo>
                    <a:pt x="2583079" y="32840"/>
                    <a:pt x="2576331" y="24742"/>
                    <a:pt x="2589827" y="22943"/>
                  </a:cubicBezTo>
                  <a:cubicBezTo>
                    <a:pt x="2596575" y="22043"/>
                    <a:pt x="2612771" y="19907"/>
                    <a:pt x="2629135" y="19119"/>
                  </a:cubicBezTo>
                  <a:close/>
                  <a:moveTo>
                    <a:pt x="1119668" y="13496"/>
                  </a:moveTo>
                  <a:lnTo>
                    <a:pt x="1143961" y="17995"/>
                  </a:lnTo>
                  <a:cubicBezTo>
                    <a:pt x="1147110" y="15295"/>
                    <a:pt x="1151609" y="15295"/>
                    <a:pt x="1158807" y="14846"/>
                  </a:cubicBezTo>
                  <a:cubicBezTo>
                    <a:pt x="1166005" y="14396"/>
                    <a:pt x="1262726" y="14846"/>
                    <a:pt x="1271723" y="14846"/>
                  </a:cubicBezTo>
                  <a:cubicBezTo>
                    <a:pt x="1280720" y="14846"/>
                    <a:pt x="1291067" y="17545"/>
                    <a:pt x="1294666" y="19794"/>
                  </a:cubicBezTo>
                  <a:cubicBezTo>
                    <a:pt x="1298265" y="22043"/>
                    <a:pt x="1298265" y="22943"/>
                    <a:pt x="1298265" y="22943"/>
                  </a:cubicBezTo>
                  <a:cubicBezTo>
                    <a:pt x="1298265" y="22943"/>
                    <a:pt x="1297365" y="30141"/>
                    <a:pt x="1296015" y="32840"/>
                  </a:cubicBezTo>
                  <a:cubicBezTo>
                    <a:pt x="1294666" y="35989"/>
                    <a:pt x="1293766" y="37339"/>
                    <a:pt x="1289717" y="39139"/>
                  </a:cubicBezTo>
                  <a:cubicBezTo>
                    <a:pt x="1289267" y="41388"/>
                    <a:pt x="1287468" y="44087"/>
                    <a:pt x="1284319" y="46336"/>
                  </a:cubicBezTo>
                  <a:cubicBezTo>
                    <a:pt x="1276671" y="51285"/>
                    <a:pt x="1258227" y="52634"/>
                    <a:pt x="1251479" y="54884"/>
                  </a:cubicBezTo>
                  <a:cubicBezTo>
                    <a:pt x="1245181" y="57133"/>
                    <a:pt x="1239782" y="61632"/>
                    <a:pt x="1234384" y="66580"/>
                  </a:cubicBezTo>
                  <a:cubicBezTo>
                    <a:pt x="1228986" y="71529"/>
                    <a:pt x="1224937" y="72878"/>
                    <a:pt x="1219538" y="80076"/>
                  </a:cubicBezTo>
                  <a:cubicBezTo>
                    <a:pt x="1214590" y="86824"/>
                    <a:pt x="1208742" y="95821"/>
                    <a:pt x="1207392" y="100320"/>
                  </a:cubicBezTo>
                  <a:cubicBezTo>
                    <a:pt x="1206042" y="105268"/>
                    <a:pt x="1208292" y="119214"/>
                    <a:pt x="1210541" y="124613"/>
                  </a:cubicBezTo>
                  <a:cubicBezTo>
                    <a:pt x="1212790" y="130461"/>
                    <a:pt x="1213690" y="135409"/>
                    <a:pt x="1210991" y="139008"/>
                  </a:cubicBezTo>
                  <a:cubicBezTo>
                    <a:pt x="1208742" y="142607"/>
                    <a:pt x="1202893" y="143507"/>
                    <a:pt x="1200644" y="147106"/>
                  </a:cubicBezTo>
                  <a:cubicBezTo>
                    <a:pt x="1198395" y="150705"/>
                    <a:pt x="1203793" y="161951"/>
                    <a:pt x="1206042" y="166900"/>
                  </a:cubicBezTo>
                  <a:cubicBezTo>
                    <a:pt x="1208292" y="171849"/>
                    <a:pt x="1203343" y="177247"/>
                    <a:pt x="1201094" y="183095"/>
                  </a:cubicBezTo>
                  <a:cubicBezTo>
                    <a:pt x="1198845" y="188943"/>
                    <a:pt x="1192997" y="225832"/>
                    <a:pt x="1189397" y="243377"/>
                  </a:cubicBezTo>
                  <a:cubicBezTo>
                    <a:pt x="1185799" y="261371"/>
                    <a:pt x="1180850" y="284764"/>
                    <a:pt x="1179501" y="289263"/>
                  </a:cubicBezTo>
                  <a:cubicBezTo>
                    <a:pt x="1178151" y="293312"/>
                    <a:pt x="1183999" y="299160"/>
                    <a:pt x="1186698" y="311307"/>
                  </a:cubicBezTo>
                  <a:cubicBezTo>
                    <a:pt x="1189397" y="323003"/>
                    <a:pt x="1192997" y="349545"/>
                    <a:pt x="1196145" y="379686"/>
                  </a:cubicBezTo>
                  <a:cubicBezTo>
                    <a:pt x="1197495" y="391832"/>
                    <a:pt x="1198845" y="409377"/>
                    <a:pt x="1199745" y="427372"/>
                  </a:cubicBezTo>
                  <a:lnTo>
                    <a:pt x="1029246" y="427372"/>
                  </a:lnTo>
                  <a:cubicBezTo>
                    <a:pt x="1026097" y="424222"/>
                    <a:pt x="1022498" y="421973"/>
                    <a:pt x="1021148" y="419724"/>
                  </a:cubicBezTo>
                  <a:cubicBezTo>
                    <a:pt x="1017999" y="415225"/>
                    <a:pt x="1016650" y="398130"/>
                    <a:pt x="1016200" y="393182"/>
                  </a:cubicBezTo>
                  <a:cubicBezTo>
                    <a:pt x="1015750" y="388233"/>
                    <a:pt x="1009002" y="385534"/>
                    <a:pt x="1007652" y="376087"/>
                  </a:cubicBezTo>
                  <a:cubicBezTo>
                    <a:pt x="1006753" y="366640"/>
                    <a:pt x="1004053" y="348645"/>
                    <a:pt x="1000454" y="337848"/>
                  </a:cubicBezTo>
                  <a:cubicBezTo>
                    <a:pt x="996855" y="327052"/>
                    <a:pt x="997305" y="304559"/>
                    <a:pt x="994156" y="295111"/>
                  </a:cubicBezTo>
                  <a:cubicBezTo>
                    <a:pt x="991007" y="285214"/>
                    <a:pt x="991907" y="273518"/>
                    <a:pt x="989658" y="264071"/>
                  </a:cubicBezTo>
                  <a:cubicBezTo>
                    <a:pt x="987408" y="254623"/>
                    <a:pt x="974812" y="179496"/>
                    <a:pt x="971213" y="163301"/>
                  </a:cubicBezTo>
                  <a:cubicBezTo>
                    <a:pt x="967614" y="147106"/>
                    <a:pt x="963566" y="104369"/>
                    <a:pt x="963116" y="96721"/>
                  </a:cubicBezTo>
                  <a:cubicBezTo>
                    <a:pt x="962666" y="89073"/>
                    <a:pt x="960866" y="80076"/>
                    <a:pt x="962666" y="73778"/>
                  </a:cubicBezTo>
                  <a:cubicBezTo>
                    <a:pt x="964465" y="67030"/>
                    <a:pt x="961766" y="58932"/>
                    <a:pt x="962216" y="54434"/>
                  </a:cubicBezTo>
                  <a:cubicBezTo>
                    <a:pt x="962666" y="49935"/>
                    <a:pt x="964915" y="49035"/>
                    <a:pt x="962216" y="47686"/>
                  </a:cubicBezTo>
                  <a:cubicBezTo>
                    <a:pt x="959067" y="46336"/>
                    <a:pt x="957717" y="25643"/>
                    <a:pt x="957717" y="25643"/>
                  </a:cubicBezTo>
                  <a:cubicBezTo>
                    <a:pt x="1001354" y="13496"/>
                    <a:pt x="1039593" y="17995"/>
                    <a:pt x="1040492" y="18895"/>
                  </a:cubicBezTo>
                  <a:cubicBezTo>
                    <a:pt x="1041392" y="19794"/>
                    <a:pt x="1044091" y="30141"/>
                    <a:pt x="1044091" y="30141"/>
                  </a:cubicBezTo>
                  <a:cubicBezTo>
                    <a:pt x="1062086" y="23843"/>
                    <a:pt x="1089977" y="21594"/>
                    <a:pt x="1089977" y="21594"/>
                  </a:cubicBezTo>
                  <a:cubicBezTo>
                    <a:pt x="1089528" y="18895"/>
                    <a:pt x="1089977" y="18445"/>
                    <a:pt x="1089977" y="18445"/>
                  </a:cubicBezTo>
                  <a:cubicBezTo>
                    <a:pt x="1095826" y="14846"/>
                    <a:pt x="1119668" y="13496"/>
                    <a:pt x="1119668" y="13496"/>
                  </a:cubicBezTo>
                  <a:close/>
                  <a:moveTo>
                    <a:pt x="1458417" y="9897"/>
                  </a:moveTo>
                  <a:cubicBezTo>
                    <a:pt x="1466064" y="9897"/>
                    <a:pt x="1474612" y="13496"/>
                    <a:pt x="1474612" y="13496"/>
                  </a:cubicBezTo>
                  <a:cubicBezTo>
                    <a:pt x="1474612" y="13496"/>
                    <a:pt x="1477761" y="12147"/>
                    <a:pt x="1480010" y="11247"/>
                  </a:cubicBezTo>
                  <a:cubicBezTo>
                    <a:pt x="1482260" y="10347"/>
                    <a:pt x="1498006" y="12147"/>
                    <a:pt x="1499356" y="13496"/>
                  </a:cubicBezTo>
                  <a:cubicBezTo>
                    <a:pt x="1500705" y="14846"/>
                    <a:pt x="1499356" y="26992"/>
                    <a:pt x="1499356" y="33290"/>
                  </a:cubicBezTo>
                  <a:cubicBezTo>
                    <a:pt x="1501155" y="34190"/>
                    <a:pt x="1502505" y="39138"/>
                    <a:pt x="1501605" y="43637"/>
                  </a:cubicBezTo>
                  <a:cubicBezTo>
                    <a:pt x="1500705" y="46786"/>
                    <a:pt x="1499356" y="50385"/>
                    <a:pt x="1499805" y="53534"/>
                  </a:cubicBezTo>
                  <a:cubicBezTo>
                    <a:pt x="1505204" y="51285"/>
                    <a:pt x="1505654" y="51735"/>
                    <a:pt x="1505654" y="51735"/>
                  </a:cubicBezTo>
                  <a:cubicBezTo>
                    <a:pt x="1516900" y="54884"/>
                    <a:pt x="1510602" y="59832"/>
                    <a:pt x="1509253" y="64780"/>
                  </a:cubicBezTo>
                  <a:cubicBezTo>
                    <a:pt x="1508803" y="66580"/>
                    <a:pt x="1507453" y="68380"/>
                    <a:pt x="1506553" y="69279"/>
                  </a:cubicBezTo>
                  <a:cubicBezTo>
                    <a:pt x="1506553" y="70179"/>
                    <a:pt x="1506103" y="71079"/>
                    <a:pt x="1506103" y="71978"/>
                  </a:cubicBezTo>
                  <a:cubicBezTo>
                    <a:pt x="1510152" y="72428"/>
                    <a:pt x="1518700" y="65680"/>
                    <a:pt x="1523198" y="84575"/>
                  </a:cubicBezTo>
                  <a:cubicBezTo>
                    <a:pt x="1527247" y="103469"/>
                    <a:pt x="1521399" y="131811"/>
                    <a:pt x="1519150" y="148906"/>
                  </a:cubicBezTo>
                  <a:cubicBezTo>
                    <a:pt x="1516900" y="166001"/>
                    <a:pt x="1512402" y="206939"/>
                    <a:pt x="1512402" y="245177"/>
                  </a:cubicBezTo>
                  <a:cubicBezTo>
                    <a:pt x="1515551" y="302760"/>
                    <a:pt x="1519599" y="367091"/>
                    <a:pt x="1522298" y="404879"/>
                  </a:cubicBezTo>
                  <a:cubicBezTo>
                    <a:pt x="1523648" y="411177"/>
                    <a:pt x="1524998" y="417925"/>
                    <a:pt x="1526797" y="425123"/>
                  </a:cubicBezTo>
                  <a:cubicBezTo>
                    <a:pt x="1526797" y="425573"/>
                    <a:pt x="1526797" y="426473"/>
                    <a:pt x="1526797" y="427822"/>
                  </a:cubicBezTo>
                  <a:lnTo>
                    <a:pt x="1402184" y="427822"/>
                  </a:lnTo>
                  <a:cubicBezTo>
                    <a:pt x="1402184" y="425573"/>
                    <a:pt x="1402184" y="423774"/>
                    <a:pt x="1402184" y="422874"/>
                  </a:cubicBezTo>
                  <a:cubicBezTo>
                    <a:pt x="1401284" y="416126"/>
                    <a:pt x="1402184" y="364841"/>
                    <a:pt x="1402184" y="351795"/>
                  </a:cubicBezTo>
                  <a:cubicBezTo>
                    <a:pt x="1402184" y="339649"/>
                    <a:pt x="1397685" y="219985"/>
                    <a:pt x="1397235" y="194792"/>
                  </a:cubicBezTo>
                  <a:cubicBezTo>
                    <a:pt x="1396785" y="173649"/>
                    <a:pt x="1392287" y="146207"/>
                    <a:pt x="1392737" y="138110"/>
                  </a:cubicBezTo>
                  <a:cubicBezTo>
                    <a:pt x="1393187" y="129562"/>
                    <a:pt x="1400384" y="125063"/>
                    <a:pt x="1401284" y="118765"/>
                  </a:cubicBezTo>
                  <a:cubicBezTo>
                    <a:pt x="1402184" y="112466"/>
                    <a:pt x="1403983" y="96271"/>
                    <a:pt x="1402634" y="86824"/>
                  </a:cubicBezTo>
                  <a:cubicBezTo>
                    <a:pt x="1401284" y="77377"/>
                    <a:pt x="1406683" y="64780"/>
                    <a:pt x="1406232" y="62081"/>
                  </a:cubicBezTo>
                  <a:cubicBezTo>
                    <a:pt x="1405783" y="59382"/>
                    <a:pt x="1396335" y="48585"/>
                    <a:pt x="1387788" y="41838"/>
                  </a:cubicBezTo>
                  <a:cubicBezTo>
                    <a:pt x="1379691" y="35090"/>
                    <a:pt x="1382390" y="22043"/>
                    <a:pt x="1382390" y="22043"/>
                  </a:cubicBezTo>
                  <a:cubicBezTo>
                    <a:pt x="1380140" y="21594"/>
                    <a:pt x="1377891" y="15295"/>
                    <a:pt x="1384189" y="13496"/>
                  </a:cubicBezTo>
                  <a:cubicBezTo>
                    <a:pt x="1390937" y="11697"/>
                    <a:pt x="1450769" y="9447"/>
                    <a:pt x="1458417" y="9897"/>
                  </a:cubicBezTo>
                  <a:close/>
                  <a:moveTo>
                    <a:pt x="2242532" y="8098"/>
                  </a:moveTo>
                  <a:cubicBezTo>
                    <a:pt x="2256028" y="8998"/>
                    <a:pt x="2269974" y="6748"/>
                    <a:pt x="2272223" y="10797"/>
                  </a:cubicBezTo>
                  <a:cubicBezTo>
                    <a:pt x="2274473" y="14396"/>
                    <a:pt x="2277622" y="11697"/>
                    <a:pt x="2277622" y="11697"/>
                  </a:cubicBezTo>
                  <a:cubicBezTo>
                    <a:pt x="2283020" y="13946"/>
                    <a:pt x="2287969" y="16645"/>
                    <a:pt x="2287969" y="16645"/>
                  </a:cubicBezTo>
                  <a:cubicBezTo>
                    <a:pt x="2287518" y="30141"/>
                    <a:pt x="2286169" y="35540"/>
                    <a:pt x="2285719" y="41388"/>
                  </a:cubicBezTo>
                  <a:cubicBezTo>
                    <a:pt x="2285719" y="42738"/>
                    <a:pt x="2286169" y="43637"/>
                    <a:pt x="2286169" y="44537"/>
                  </a:cubicBezTo>
                  <a:cubicBezTo>
                    <a:pt x="2289768" y="48586"/>
                    <a:pt x="2293367" y="54434"/>
                    <a:pt x="2296966" y="63431"/>
                  </a:cubicBezTo>
                  <a:cubicBezTo>
                    <a:pt x="2301914" y="76027"/>
                    <a:pt x="2290218" y="84125"/>
                    <a:pt x="2286169" y="93122"/>
                  </a:cubicBezTo>
                  <a:cubicBezTo>
                    <a:pt x="2282570" y="102120"/>
                    <a:pt x="2282570" y="104369"/>
                    <a:pt x="2281670" y="117416"/>
                  </a:cubicBezTo>
                  <a:cubicBezTo>
                    <a:pt x="2281221" y="130012"/>
                    <a:pt x="2277622" y="137660"/>
                    <a:pt x="2277172" y="149806"/>
                  </a:cubicBezTo>
                  <a:cubicBezTo>
                    <a:pt x="2276722" y="161503"/>
                    <a:pt x="2272673" y="166901"/>
                    <a:pt x="2272223" y="181297"/>
                  </a:cubicBezTo>
                  <a:cubicBezTo>
                    <a:pt x="2271773" y="196142"/>
                    <a:pt x="2270424" y="203340"/>
                    <a:pt x="2272673" y="227633"/>
                  </a:cubicBezTo>
                  <a:cubicBezTo>
                    <a:pt x="2274473" y="251926"/>
                    <a:pt x="2272673" y="256424"/>
                    <a:pt x="2269974" y="278917"/>
                  </a:cubicBezTo>
                  <a:cubicBezTo>
                    <a:pt x="2268624" y="291064"/>
                    <a:pt x="2264126" y="310858"/>
                    <a:pt x="2258728" y="331102"/>
                  </a:cubicBezTo>
                  <a:cubicBezTo>
                    <a:pt x="2253779" y="351796"/>
                    <a:pt x="2247931" y="371140"/>
                    <a:pt x="2244332" y="384636"/>
                  </a:cubicBezTo>
                  <a:cubicBezTo>
                    <a:pt x="2240283" y="398581"/>
                    <a:pt x="2233535" y="413877"/>
                    <a:pt x="2226337" y="427822"/>
                  </a:cubicBezTo>
                  <a:lnTo>
                    <a:pt x="2073382" y="427822"/>
                  </a:lnTo>
                  <a:cubicBezTo>
                    <a:pt x="2076081" y="417026"/>
                    <a:pt x="2078781" y="406679"/>
                    <a:pt x="2080580" y="398581"/>
                  </a:cubicBezTo>
                  <a:cubicBezTo>
                    <a:pt x="2087328" y="370240"/>
                    <a:pt x="2099025" y="335600"/>
                    <a:pt x="2105773" y="318056"/>
                  </a:cubicBezTo>
                  <a:cubicBezTo>
                    <a:pt x="2112521" y="300961"/>
                    <a:pt x="2134563" y="242478"/>
                    <a:pt x="2139062" y="217286"/>
                  </a:cubicBezTo>
                  <a:cubicBezTo>
                    <a:pt x="2143561" y="192094"/>
                    <a:pt x="2147610" y="158804"/>
                    <a:pt x="2149409" y="149356"/>
                  </a:cubicBezTo>
                  <a:cubicBezTo>
                    <a:pt x="2151659" y="139459"/>
                    <a:pt x="2160656" y="98521"/>
                    <a:pt x="2164705" y="82775"/>
                  </a:cubicBezTo>
                  <a:cubicBezTo>
                    <a:pt x="2168754" y="67030"/>
                    <a:pt x="2179100" y="60732"/>
                    <a:pt x="2180000" y="57583"/>
                  </a:cubicBezTo>
                  <a:cubicBezTo>
                    <a:pt x="2180900" y="54434"/>
                    <a:pt x="2175051" y="49035"/>
                    <a:pt x="2167404" y="42738"/>
                  </a:cubicBezTo>
                  <a:cubicBezTo>
                    <a:pt x="2159756" y="36439"/>
                    <a:pt x="2161555" y="33290"/>
                    <a:pt x="2160206" y="26542"/>
                  </a:cubicBezTo>
                  <a:cubicBezTo>
                    <a:pt x="2159306" y="23843"/>
                    <a:pt x="2150759" y="22494"/>
                    <a:pt x="2157507" y="15296"/>
                  </a:cubicBezTo>
                  <a:cubicBezTo>
                    <a:pt x="2164255" y="8098"/>
                    <a:pt x="2229486" y="7198"/>
                    <a:pt x="2242532" y="8098"/>
                  </a:cubicBezTo>
                  <a:close/>
                  <a:moveTo>
                    <a:pt x="1679309" y="7704"/>
                  </a:moveTo>
                  <a:cubicBezTo>
                    <a:pt x="1716866" y="7957"/>
                    <a:pt x="1730699" y="14283"/>
                    <a:pt x="1732386" y="15295"/>
                  </a:cubicBezTo>
                  <a:cubicBezTo>
                    <a:pt x="1735085" y="16645"/>
                    <a:pt x="1735085" y="20693"/>
                    <a:pt x="1731936" y="22043"/>
                  </a:cubicBezTo>
                  <a:cubicBezTo>
                    <a:pt x="1731486" y="26092"/>
                    <a:pt x="1731486" y="34189"/>
                    <a:pt x="1728787" y="36439"/>
                  </a:cubicBezTo>
                  <a:cubicBezTo>
                    <a:pt x="1725638" y="38238"/>
                    <a:pt x="1713042" y="41387"/>
                    <a:pt x="1707643" y="43637"/>
                  </a:cubicBezTo>
                  <a:cubicBezTo>
                    <a:pt x="1702695" y="45886"/>
                    <a:pt x="1685150" y="57582"/>
                    <a:pt x="1682451" y="62081"/>
                  </a:cubicBezTo>
                  <a:cubicBezTo>
                    <a:pt x="1682001" y="68829"/>
                    <a:pt x="1685600" y="74677"/>
                    <a:pt x="1689199" y="86374"/>
                  </a:cubicBezTo>
                  <a:cubicBezTo>
                    <a:pt x="1692798" y="98070"/>
                    <a:pt x="1687849" y="104818"/>
                    <a:pt x="1684700" y="112017"/>
                  </a:cubicBezTo>
                  <a:cubicBezTo>
                    <a:pt x="1682001" y="119215"/>
                    <a:pt x="1677952" y="139459"/>
                    <a:pt x="1678852" y="154304"/>
                  </a:cubicBezTo>
                  <a:cubicBezTo>
                    <a:pt x="1679751" y="169150"/>
                    <a:pt x="1680651" y="188494"/>
                    <a:pt x="1680651" y="217735"/>
                  </a:cubicBezTo>
                  <a:cubicBezTo>
                    <a:pt x="1680651" y="224033"/>
                    <a:pt x="1680651" y="230781"/>
                    <a:pt x="1680651" y="237529"/>
                  </a:cubicBezTo>
                  <a:cubicBezTo>
                    <a:pt x="1681101" y="252825"/>
                    <a:pt x="1681101" y="266770"/>
                    <a:pt x="1681101" y="274868"/>
                  </a:cubicBezTo>
                  <a:cubicBezTo>
                    <a:pt x="1681101" y="280716"/>
                    <a:pt x="1682001" y="293313"/>
                    <a:pt x="1683351" y="309058"/>
                  </a:cubicBezTo>
                  <a:cubicBezTo>
                    <a:pt x="1686050" y="331551"/>
                    <a:pt x="1692348" y="382386"/>
                    <a:pt x="1697296" y="426472"/>
                  </a:cubicBezTo>
                  <a:lnTo>
                    <a:pt x="1575832" y="426472"/>
                  </a:lnTo>
                  <a:cubicBezTo>
                    <a:pt x="1575832" y="423323"/>
                    <a:pt x="1576282" y="421074"/>
                    <a:pt x="1576282" y="420624"/>
                  </a:cubicBezTo>
                  <a:cubicBezTo>
                    <a:pt x="1577631" y="415226"/>
                    <a:pt x="1576732" y="396331"/>
                    <a:pt x="1576282" y="386884"/>
                  </a:cubicBezTo>
                  <a:cubicBezTo>
                    <a:pt x="1576282" y="377437"/>
                    <a:pt x="1583030" y="351795"/>
                    <a:pt x="1584379" y="346846"/>
                  </a:cubicBezTo>
                  <a:cubicBezTo>
                    <a:pt x="1585729" y="341898"/>
                    <a:pt x="1580330" y="293762"/>
                    <a:pt x="1579431" y="266770"/>
                  </a:cubicBezTo>
                  <a:cubicBezTo>
                    <a:pt x="1578531" y="240228"/>
                    <a:pt x="1577181" y="151155"/>
                    <a:pt x="1574032" y="133611"/>
                  </a:cubicBezTo>
                  <a:cubicBezTo>
                    <a:pt x="1569534" y="105718"/>
                    <a:pt x="1578531" y="84125"/>
                    <a:pt x="1576732" y="61631"/>
                  </a:cubicBezTo>
                  <a:cubicBezTo>
                    <a:pt x="1576282" y="58482"/>
                    <a:pt x="1572233" y="42287"/>
                    <a:pt x="1572233" y="30591"/>
                  </a:cubicBezTo>
                  <a:cubicBezTo>
                    <a:pt x="1572233" y="26542"/>
                    <a:pt x="1575832" y="25642"/>
                    <a:pt x="1575832" y="23843"/>
                  </a:cubicBezTo>
                  <a:cubicBezTo>
                    <a:pt x="1575832" y="17095"/>
                    <a:pt x="1574932" y="11696"/>
                    <a:pt x="1576282" y="11696"/>
                  </a:cubicBezTo>
                  <a:cubicBezTo>
                    <a:pt x="1577631" y="11696"/>
                    <a:pt x="1604623" y="11696"/>
                    <a:pt x="1606873" y="11696"/>
                  </a:cubicBezTo>
                  <a:cubicBezTo>
                    <a:pt x="1608672" y="12146"/>
                    <a:pt x="1621269" y="14845"/>
                    <a:pt x="1621269" y="14845"/>
                  </a:cubicBezTo>
                  <a:cubicBezTo>
                    <a:pt x="1621269" y="14845"/>
                    <a:pt x="1624418" y="13046"/>
                    <a:pt x="1633415" y="9897"/>
                  </a:cubicBezTo>
                  <a:cubicBezTo>
                    <a:pt x="1651635" y="8210"/>
                    <a:pt x="1666790" y="7619"/>
                    <a:pt x="1679309" y="7704"/>
                  </a:cubicBezTo>
                  <a:close/>
                  <a:moveTo>
                    <a:pt x="22899" y="7648"/>
                  </a:moveTo>
                  <a:cubicBezTo>
                    <a:pt x="22899" y="7648"/>
                    <a:pt x="24699" y="16646"/>
                    <a:pt x="29647" y="15746"/>
                  </a:cubicBezTo>
                  <a:cubicBezTo>
                    <a:pt x="35046" y="15296"/>
                    <a:pt x="44943" y="10797"/>
                    <a:pt x="53040" y="8548"/>
                  </a:cubicBezTo>
                  <a:cubicBezTo>
                    <a:pt x="61138" y="6299"/>
                    <a:pt x="109723" y="8548"/>
                    <a:pt x="109723" y="8548"/>
                  </a:cubicBezTo>
                  <a:cubicBezTo>
                    <a:pt x="109723" y="8548"/>
                    <a:pt x="125468" y="18445"/>
                    <a:pt x="126368" y="22944"/>
                  </a:cubicBezTo>
                  <a:cubicBezTo>
                    <a:pt x="127268" y="27442"/>
                    <a:pt x="116921" y="34190"/>
                    <a:pt x="111073" y="39139"/>
                  </a:cubicBezTo>
                  <a:cubicBezTo>
                    <a:pt x="108824" y="40938"/>
                    <a:pt x="105674" y="43188"/>
                    <a:pt x="102076" y="45887"/>
                  </a:cubicBezTo>
                  <a:cubicBezTo>
                    <a:pt x="96677" y="49935"/>
                    <a:pt x="91279" y="55334"/>
                    <a:pt x="88580" y="63881"/>
                  </a:cubicBezTo>
                  <a:cubicBezTo>
                    <a:pt x="84081" y="77827"/>
                    <a:pt x="74634" y="116066"/>
                    <a:pt x="75534" y="157003"/>
                  </a:cubicBezTo>
                  <a:cubicBezTo>
                    <a:pt x="76433" y="197941"/>
                    <a:pt x="103425" y="271269"/>
                    <a:pt x="108374" y="294662"/>
                  </a:cubicBezTo>
                  <a:cubicBezTo>
                    <a:pt x="113322" y="318055"/>
                    <a:pt x="117821" y="351345"/>
                    <a:pt x="121420" y="358093"/>
                  </a:cubicBezTo>
                  <a:cubicBezTo>
                    <a:pt x="125019" y="364841"/>
                    <a:pt x="134016" y="386884"/>
                    <a:pt x="136715" y="389583"/>
                  </a:cubicBezTo>
                  <a:cubicBezTo>
                    <a:pt x="139414" y="392283"/>
                    <a:pt x="141664" y="385085"/>
                    <a:pt x="139414" y="376987"/>
                  </a:cubicBezTo>
                  <a:cubicBezTo>
                    <a:pt x="137165" y="368890"/>
                    <a:pt x="127718" y="309957"/>
                    <a:pt x="128617" y="281616"/>
                  </a:cubicBezTo>
                  <a:cubicBezTo>
                    <a:pt x="129517" y="253274"/>
                    <a:pt x="128168" y="179496"/>
                    <a:pt x="127268" y="157003"/>
                  </a:cubicBezTo>
                  <a:cubicBezTo>
                    <a:pt x="126818" y="134510"/>
                    <a:pt x="124569" y="117415"/>
                    <a:pt x="118720" y="108868"/>
                  </a:cubicBezTo>
                  <a:cubicBezTo>
                    <a:pt x="117371" y="106619"/>
                    <a:pt x="115122" y="103469"/>
                    <a:pt x="113322" y="99421"/>
                  </a:cubicBezTo>
                  <a:cubicBezTo>
                    <a:pt x="107924" y="89524"/>
                    <a:pt x="102975" y="75578"/>
                    <a:pt x="107924" y="64781"/>
                  </a:cubicBezTo>
                  <a:cubicBezTo>
                    <a:pt x="114222" y="49935"/>
                    <a:pt x="127718" y="34640"/>
                    <a:pt x="130417" y="14396"/>
                  </a:cubicBezTo>
                  <a:lnTo>
                    <a:pt x="142113" y="13047"/>
                  </a:lnTo>
                  <a:cubicBezTo>
                    <a:pt x="142113" y="13047"/>
                    <a:pt x="142113" y="20694"/>
                    <a:pt x="144363" y="19795"/>
                  </a:cubicBezTo>
                  <a:cubicBezTo>
                    <a:pt x="146612" y="19345"/>
                    <a:pt x="146612" y="13497"/>
                    <a:pt x="156959" y="12597"/>
                  </a:cubicBezTo>
                  <a:cubicBezTo>
                    <a:pt x="166857" y="11697"/>
                    <a:pt x="206895" y="13497"/>
                    <a:pt x="209144" y="12597"/>
                  </a:cubicBezTo>
                  <a:cubicBezTo>
                    <a:pt x="211394" y="12147"/>
                    <a:pt x="216342" y="15746"/>
                    <a:pt x="217242" y="20694"/>
                  </a:cubicBezTo>
                  <a:cubicBezTo>
                    <a:pt x="217692" y="25643"/>
                    <a:pt x="199247" y="38239"/>
                    <a:pt x="192499" y="48136"/>
                  </a:cubicBezTo>
                  <a:cubicBezTo>
                    <a:pt x="191599" y="49036"/>
                    <a:pt x="191150" y="49935"/>
                    <a:pt x="190700" y="50835"/>
                  </a:cubicBezTo>
                  <a:cubicBezTo>
                    <a:pt x="185751" y="61182"/>
                    <a:pt x="171806" y="79177"/>
                    <a:pt x="172705" y="104819"/>
                  </a:cubicBezTo>
                  <a:cubicBezTo>
                    <a:pt x="173155" y="130461"/>
                    <a:pt x="174505" y="154304"/>
                    <a:pt x="190700" y="231681"/>
                  </a:cubicBezTo>
                  <a:cubicBezTo>
                    <a:pt x="206445" y="308608"/>
                    <a:pt x="213643" y="324803"/>
                    <a:pt x="210944" y="387334"/>
                  </a:cubicBezTo>
                  <a:cubicBezTo>
                    <a:pt x="210944" y="387334"/>
                    <a:pt x="214093" y="403079"/>
                    <a:pt x="216792" y="415675"/>
                  </a:cubicBezTo>
                  <a:cubicBezTo>
                    <a:pt x="217692" y="419724"/>
                    <a:pt x="217692" y="423773"/>
                    <a:pt x="217692" y="426022"/>
                  </a:cubicBezTo>
                  <a:lnTo>
                    <a:pt x="68336" y="426022"/>
                  </a:lnTo>
                  <a:cubicBezTo>
                    <a:pt x="60688" y="408927"/>
                    <a:pt x="47642" y="384185"/>
                    <a:pt x="38195" y="354044"/>
                  </a:cubicBezTo>
                  <a:cubicBezTo>
                    <a:pt x="23799" y="306808"/>
                    <a:pt x="26948" y="242477"/>
                    <a:pt x="29647" y="209188"/>
                  </a:cubicBezTo>
                  <a:cubicBezTo>
                    <a:pt x="32347" y="175448"/>
                    <a:pt x="35945" y="162402"/>
                    <a:pt x="30997" y="148006"/>
                  </a:cubicBezTo>
                  <a:cubicBezTo>
                    <a:pt x="26048" y="133610"/>
                    <a:pt x="22000" y="111117"/>
                    <a:pt x="19300" y="106619"/>
                  </a:cubicBezTo>
                  <a:cubicBezTo>
                    <a:pt x="18401" y="105719"/>
                    <a:pt x="17051" y="103469"/>
                    <a:pt x="14802" y="100770"/>
                  </a:cubicBezTo>
                  <a:cubicBezTo>
                    <a:pt x="8054" y="91323"/>
                    <a:pt x="-3193" y="74678"/>
                    <a:pt x="856" y="62982"/>
                  </a:cubicBezTo>
                  <a:cubicBezTo>
                    <a:pt x="6254" y="47686"/>
                    <a:pt x="17051" y="31941"/>
                    <a:pt x="14802" y="9898"/>
                  </a:cubicBezTo>
                  <a:close/>
                  <a:moveTo>
                    <a:pt x="1939147" y="7127"/>
                  </a:moveTo>
                  <a:cubicBezTo>
                    <a:pt x="1950457" y="7254"/>
                    <a:pt x="1959567" y="7648"/>
                    <a:pt x="1964066" y="8098"/>
                  </a:cubicBezTo>
                  <a:cubicBezTo>
                    <a:pt x="1982060" y="9897"/>
                    <a:pt x="2017600" y="13046"/>
                    <a:pt x="2017600" y="13046"/>
                  </a:cubicBezTo>
                  <a:lnTo>
                    <a:pt x="2018500" y="7198"/>
                  </a:lnTo>
                  <a:lnTo>
                    <a:pt x="2066635" y="12596"/>
                  </a:lnTo>
                  <a:cubicBezTo>
                    <a:pt x="2066635" y="17095"/>
                    <a:pt x="2066635" y="21144"/>
                    <a:pt x="2066635" y="25192"/>
                  </a:cubicBezTo>
                  <a:cubicBezTo>
                    <a:pt x="2070684" y="43187"/>
                    <a:pt x="2062136" y="73328"/>
                    <a:pt x="2059437" y="82775"/>
                  </a:cubicBezTo>
                  <a:cubicBezTo>
                    <a:pt x="2058087" y="87274"/>
                    <a:pt x="2057188" y="94472"/>
                    <a:pt x="2056738" y="103469"/>
                  </a:cubicBezTo>
                  <a:cubicBezTo>
                    <a:pt x="2056738" y="114265"/>
                    <a:pt x="2056738" y="128211"/>
                    <a:pt x="2055388" y="144856"/>
                  </a:cubicBezTo>
                  <a:cubicBezTo>
                    <a:pt x="2054939" y="145756"/>
                    <a:pt x="2054939" y="146656"/>
                    <a:pt x="2054939" y="148005"/>
                  </a:cubicBezTo>
                  <a:cubicBezTo>
                    <a:pt x="2054939" y="150705"/>
                    <a:pt x="2054939" y="153404"/>
                    <a:pt x="2054939" y="156103"/>
                  </a:cubicBezTo>
                  <a:cubicBezTo>
                    <a:pt x="2054939" y="179496"/>
                    <a:pt x="2051790" y="244276"/>
                    <a:pt x="2049990" y="281615"/>
                  </a:cubicBezTo>
                  <a:cubicBezTo>
                    <a:pt x="2049990" y="282515"/>
                    <a:pt x="2049990" y="282965"/>
                    <a:pt x="2049990" y="283415"/>
                  </a:cubicBezTo>
                  <a:cubicBezTo>
                    <a:pt x="2049990" y="290612"/>
                    <a:pt x="2049540" y="296911"/>
                    <a:pt x="2049090" y="302759"/>
                  </a:cubicBezTo>
                  <a:cubicBezTo>
                    <a:pt x="2048640" y="311306"/>
                    <a:pt x="2047741" y="319404"/>
                    <a:pt x="2046391" y="326152"/>
                  </a:cubicBezTo>
                  <a:cubicBezTo>
                    <a:pt x="2045941" y="329751"/>
                    <a:pt x="2045491" y="333350"/>
                    <a:pt x="2045491" y="336948"/>
                  </a:cubicBezTo>
                  <a:cubicBezTo>
                    <a:pt x="2045491" y="344146"/>
                    <a:pt x="2043242" y="348195"/>
                    <a:pt x="2041443" y="352694"/>
                  </a:cubicBezTo>
                  <a:cubicBezTo>
                    <a:pt x="2041443" y="354943"/>
                    <a:pt x="2040993" y="357192"/>
                    <a:pt x="2040993" y="358992"/>
                  </a:cubicBezTo>
                  <a:cubicBezTo>
                    <a:pt x="2040543" y="366640"/>
                    <a:pt x="2039193" y="374287"/>
                    <a:pt x="2039643" y="382835"/>
                  </a:cubicBezTo>
                  <a:cubicBezTo>
                    <a:pt x="2040543" y="387783"/>
                    <a:pt x="2041892" y="392282"/>
                    <a:pt x="2042792" y="397680"/>
                  </a:cubicBezTo>
                  <a:cubicBezTo>
                    <a:pt x="2045491" y="404878"/>
                    <a:pt x="2046841" y="415675"/>
                    <a:pt x="2047291" y="427821"/>
                  </a:cubicBezTo>
                  <a:lnTo>
                    <a:pt x="1901534" y="427821"/>
                  </a:lnTo>
                  <a:cubicBezTo>
                    <a:pt x="1904233" y="381035"/>
                    <a:pt x="1909181" y="314455"/>
                    <a:pt x="1912330" y="285214"/>
                  </a:cubicBezTo>
                  <a:cubicBezTo>
                    <a:pt x="1916379" y="249675"/>
                    <a:pt x="1934824" y="143057"/>
                    <a:pt x="1939322" y="137658"/>
                  </a:cubicBezTo>
                  <a:cubicBezTo>
                    <a:pt x="1943821" y="132260"/>
                    <a:pt x="1942022" y="123713"/>
                    <a:pt x="1940222" y="114715"/>
                  </a:cubicBezTo>
                  <a:cubicBezTo>
                    <a:pt x="1938423" y="105718"/>
                    <a:pt x="1942022" y="98070"/>
                    <a:pt x="1944721" y="93572"/>
                  </a:cubicBezTo>
                  <a:cubicBezTo>
                    <a:pt x="1947420" y="89523"/>
                    <a:pt x="1938423" y="76927"/>
                    <a:pt x="1935723" y="71978"/>
                  </a:cubicBezTo>
                  <a:cubicBezTo>
                    <a:pt x="1933024" y="67030"/>
                    <a:pt x="1930325" y="62531"/>
                    <a:pt x="1926726" y="58932"/>
                  </a:cubicBezTo>
                  <a:cubicBezTo>
                    <a:pt x="1923127" y="55333"/>
                    <a:pt x="1905133" y="46786"/>
                    <a:pt x="1897485" y="44986"/>
                  </a:cubicBezTo>
                  <a:cubicBezTo>
                    <a:pt x="1890287" y="42737"/>
                    <a:pt x="1870043" y="41837"/>
                    <a:pt x="1860596" y="41388"/>
                  </a:cubicBezTo>
                  <a:cubicBezTo>
                    <a:pt x="1850699" y="40938"/>
                    <a:pt x="1848000" y="24293"/>
                    <a:pt x="1848000" y="24293"/>
                  </a:cubicBezTo>
                  <a:cubicBezTo>
                    <a:pt x="1837203" y="22943"/>
                    <a:pt x="1843051" y="18894"/>
                    <a:pt x="1843051" y="18894"/>
                  </a:cubicBezTo>
                  <a:cubicBezTo>
                    <a:pt x="1851486" y="8772"/>
                    <a:pt x="1905217" y="6748"/>
                    <a:pt x="1939147" y="7127"/>
                  </a:cubicBezTo>
                  <a:close/>
                  <a:moveTo>
                    <a:pt x="383690" y="3599"/>
                  </a:moveTo>
                  <a:cubicBezTo>
                    <a:pt x="390438" y="3599"/>
                    <a:pt x="506953" y="3599"/>
                    <a:pt x="506953" y="3599"/>
                  </a:cubicBezTo>
                  <a:lnTo>
                    <a:pt x="515950" y="4949"/>
                  </a:lnTo>
                  <a:lnTo>
                    <a:pt x="515051" y="27892"/>
                  </a:lnTo>
                  <a:cubicBezTo>
                    <a:pt x="515051" y="27892"/>
                    <a:pt x="511902" y="30141"/>
                    <a:pt x="512801" y="39588"/>
                  </a:cubicBezTo>
                  <a:cubicBezTo>
                    <a:pt x="513701" y="44087"/>
                    <a:pt x="516400" y="49485"/>
                    <a:pt x="519099" y="55783"/>
                  </a:cubicBezTo>
                  <a:cubicBezTo>
                    <a:pt x="521349" y="59832"/>
                    <a:pt x="523148" y="64780"/>
                    <a:pt x="523598" y="70629"/>
                  </a:cubicBezTo>
                  <a:cubicBezTo>
                    <a:pt x="524498" y="73328"/>
                    <a:pt x="524948" y="76477"/>
                    <a:pt x="524948" y="79626"/>
                  </a:cubicBezTo>
                  <a:cubicBezTo>
                    <a:pt x="524948" y="82325"/>
                    <a:pt x="524948" y="85024"/>
                    <a:pt x="524498" y="88623"/>
                  </a:cubicBezTo>
                  <a:cubicBezTo>
                    <a:pt x="524948" y="99420"/>
                    <a:pt x="524498" y="110217"/>
                    <a:pt x="522248" y="117415"/>
                  </a:cubicBezTo>
                  <a:cubicBezTo>
                    <a:pt x="520899" y="122363"/>
                    <a:pt x="518200" y="130011"/>
                    <a:pt x="515950" y="139908"/>
                  </a:cubicBezTo>
                  <a:cubicBezTo>
                    <a:pt x="514151" y="150255"/>
                    <a:pt x="512801" y="160152"/>
                    <a:pt x="512801" y="168249"/>
                  </a:cubicBezTo>
                  <a:cubicBezTo>
                    <a:pt x="512801" y="179046"/>
                    <a:pt x="516400" y="196141"/>
                    <a:pt x="520449" y="218184"/>
                  </a:cubicBezTo>
                  <a:cubicBezTo>
                    <a:pt x="525847" y="246076"/>
                    <a:pt x="531696" y="280715"/>
                    <a:pt x="531246" y="311306"/>
                  </a:cubicBezTo>
                  <a:cubicBezTo>
                    <a:pt x="530346" y="352244"/>
                    <a:pt x="531246" y="385534"/>
                    <a:pt x="533495" y="428271"/>
                  </a:cubicBezTo>
                  <a:lnTo>
                    <a:pt x="412032" y="428271"/>
                  </a:lnTo>
                  <a:cubicBezTo>
                    <a:pt x="412032" y="417924"/>
                    <a:pt x="412482" y="404878"/>
                    <a:pt x="414281" y="402629"/>
                  </a:cubicBezTo>
                  <a:cubicBezTo>
                    <a:pt x="416530" y="399480"/>
                    <a:pt x="417880" y="395431"/>
                    <a:pt x="415630" y="384184"/>
                  </a:cubicBezTo>
                  <a:cubicBezTo>
                    <a:pt x="413381" y="373388"/>
                    <a:pt x="414281" y="358992"/>
                    <a:pt x="413381" y="333350"/>
                  </a:cubicBezTo>
                  <a:cubicBezTo>
                    <a:pt x="412482" y="307258"/>
                    <a:pt x="411132" y="270369"/>
                    <a:pt x="413381" y="231230"/>
                  </a:cubicBezTo>
                  <a:cubicBezTo>
                    <a:pt x="415630" y="192092"/>
                    <a:pt x="420579" y="158802"/>
                    <a:pt x="423728" y="138109"/>
                  </a:cubicBezTo>
                  <a:cubicBezTo>
                    <a:pt x="423728" y="138109"/>
                    <a:pt x="429576" y="126862"/>
                    <a:pt x="430476" y="119664"/>
                  </a:cubicBezTo>
                  <a:cubicBezTo>
                    <a:pt x="431376" y="112466"/>
                    <a:pt x="417880" y="102569"/>
                    <a:pt x="412032" y="88623"/>
                  </a:cubicBezTo>
                  <a:cubicBezTo>
                    <a:pt x="406183" y="74228"/>
                    <a:pt x="408433" y="61182"/>
                    <a:pt x="409782" y="58932"/>
                  </a:cubicBezTo>
                  <a:cubicBezTo>
                    <a:pt x="411132" y="56683"/>
                    <a:pt x="403034" y="42737"/>
                    <a:pt x="394937" y="41837"/>
                  </a:cubicBezTo>
                  <a:cubicBezTo>
                    <a:pt x="386839" y="41388"/>
                    <a:pt x="367495" y="41388"/>
                    <a:pt x="361647" y="34640"/>
                  </a:cubicBezTo>
                  <a:cubicBezTo>
                    <a:pt x="355799" y="27892"/>
                    <a:pt x="355799" y="23393"/>
                    <a:pt x="355799" y="23393"/>
                  </a:cubicBezTo>
                  <a:cubicBezTo>
                    <a:pt x="355799" y="23393"/>
                    <a:pt x="345452" y="20694"/>
                    <a:pt x="351300" y="15295"/>
                  </a:cubicBezTo>
                  <a:cubicBezTo>
                    <a:pt x="357148" y="10347"/>
                    <a:pt x="376942" y="3599"/>
                    <a:pt x="383690" y="3599"/>
                  </a:cubicBezTo>
                  <a:close/>
                  <a:moveTo>
                    <a:pt x="762026" y="0"/>
                  </a:moveTo>
                  <a:cubicBezTo>
                    <a:pt x="778671" y="0"/>
                    <a:pt x="798465" y="0"/>
                    <a:pt x="783620" y="31940"/>
                  </a:cubicBezTo>
                  <a:cubicBezTo>
                    <a:pt x="783620" y="31940"/>
                    <a:pt x="775522" y="39588"/>
                    <a:pt x="771923" y="46786"/>
                  </a:cubicBezTo>
                  <a:cubicBezTo>
                    <a:pt x="767875" y="54433"/>
                    <a:pt x="762926" y="61631"/>
                    <a:pt x="762926" y="63881"/>
                  </a:cubicBezTo>
                  <a:cubicBezTo>
                    <a:pt x="762926" y="66130"/>
                    <a:pt x="764275" y="92222"/>
                    <a:pt x="762026" y="98070"/>
                  </a:cubicBezTo>
                  <a:cubicBezTo>
                    <a:pt x="759777" y="103919"/>
                    <a:pt x="748530" y="113367"/>
                    <a:pt x="744931" y="126863"/>
                  </a:cubicBezTo>
                  <a:cubicBezTo>
                    <a:pt x="741332" y="139909"/>
                    <a:pt x="756178" y="233931"/>
                    <a:pt x="753029" y="243378"/>
                  </a:cubicBezTo>
                  <a:cubicBezTo>
                    <a:pt x="749880" y="253275"/>
                    <a:pt x="730536" y="342348"/>
                    <a:pt x="729186" y="398581"/>
                  </a:cubicBezTo>
                  <a:cubicBezTo>
                    <a:pt x="729186" y="406678"/>
                    <a:pt x="728736" y="416126"/>
                    <a:pt x="729636" y="427372"/>
                  </a:cubicBezTo>
                  <a:lnTo>
                    <a:pt x="609972" y="427372"/>
                  </a:lnTo>
                  <a:cubicBezTo>
                    <a:pt x="614921" y="393182"/>
                    <a:pt x="621669" y="347746"/>
                    <a:pt x="624368" y="327952"/>
                  </a:cubicBezTo>
                  <a:cubicBezTo>
                    <a:pt x="627967" y="300061"/>
                    <a:pt x="631565" y="238429"/>
                    <a:pt x="631565" y="216386"/>
                  </a:cubicBezTo>
                  <a:cubicBezTo>
                    <a:pt x="631565" y="206039"/>
                    <a:pt x="633365" y="185345"/>
                    <a:pt x="635614" y="164202"/>
                  </a:cubicBezTo>
                  <a:cubicBezTo>
                    <a:pt x="637414" y="138559"/>
                    <a:pt x="639663" y="116516"/>
                    <a:pt x="643262" y="106168"/>
                  </a:cubicBezTo>
                  <a:cubicBezTo>
                    <a:pt x="646411" y="89973"/>
                    <a:pt x="653159" y="82325"/>
                    <a:pt x="654059" y="72428"/>
                  </a:cubicBezTo>
                  <a:cubicBezTo>
                    <a:pt x="654059" y="71528"/>
                    <a:pt x="654059" y="70629"/>
                    <a:pt x="654059" y="69729"/>
                  </a:cubicBezTo>
                  <a:cubicBezTo>
                    <a:pt x="654059" y="61181"/>
                    <a:pt x="654059" y="59382"/>
                    <a:pt x="656308" y="55783"/>
                  </a:cubicBezTo>
                  <a:cubicBezTo>
                    <a:pt x="657208" y="54433"/>
                    <a:pt x="658108" y="53084"/>
                    <a:pt x="659457" y="52184"/>
                  </a:cubicBezTo>
                  <a:cubicBezTo>
                    <a:pt x="664856" y="46336"/>
                    <a:pt x="672053" y="40938"/>
                    <a:pt x="673853" y="36889"/>
                  </a:cubicBezTo>
                  <a:cubicBezTo>
                    <a:pt x="673853" y="34190"/>
                    <a:pt x="673403" y="31491"/>
                    <a:pt x="672953" y="28341"/>
                  </a:cubicBezTo>
                  <a:cubicBezTo>
                    <a:pt x="671603" y="23393"/>
                    <a:pt x="670254" y="17995"/>
                    <a:pt x="671154" y="14845"/>
                  </a:cubicBezTo>
                  <a:cubicBezTo>
                    <a:pt x="670704" y="10347"/>
                    <a:pt x="672503" y="900"/>
                    <a:pt x="672503" y="900"/>
                  </a:cubicBezTo>
                  <a:cubicBezTo>
                    <a:pt x="672503" y="900"/>
                    <a:pt x="745831" y="0"/>
                    <a:pt x="762026" y="0"/>
                  </a:cubicBezTo>
                  <a:close/>
                </a:path>
              </a:pathLst>
            </a:custGeom>
            <a:gradFill>
              <a:gsLst>
                <a:gs pos="0">
                  <a:schemeClr val="tx2">
                    <a:lumMod val="75000"/>
                    <a:alpha val="50000"/>
                  </a:schemeClr>
                </a:gs>
                <a:gs pos="100000">
                  <a:schemeClr val="tx2">
                    <a:lumMod val="75000"/>
                    <a:alpha val="0"/>
                  </a:schemeClr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8" name="任意多边形: 形状 9847">
              <a:extLst>
                <a:ext uri="{FF2B5EF4-FFF2-40B4-BE49-F238E27FC236}">
                  <a16:creationId xmlns:a16="http://schemas.microsoft.com/office/drawing/2014/main" id="{2C63FEF1-D008-48D6-ABA7-78EEA7F35DED}"/>
                </a:ext>
              </a:extLst>
            </p:cNvPr>
            <p:cNvSpPr/>
            <p:nvPr/>
          </p:nvSpPr>
          <p:spPr>
            <a:xfrm>
              <a:off x="8906247" y="4205320"/>
              <a:ext cx="584655" cy="2033851"/>
            </a:xfrm>
            <a:custGeom>
              <a:avLst/>
              <a:gdLst>
                <a:gd name="connsiteX0" fmla="*/ 7260 w 422872"/>
                <a:gd name="connsiteY0" fmla="*/ 1464984 h 1471057"/>
                <a:gd name="connsiteX1" fmla="*/ 81487 w 422872"/>
                <a:gd name="connsiteY1" fmla="*/ 1468583 h 1471057"/>
                <a:gd name="connsiteX2" fmla="*/ 97682 w 422872"/>
                <a:gd name="connsiteY2" fmla="*/ 1464984 h 1471057"/>
                <a:gd name="connsiteX3" fmla="*/ 103081 w 422872"/>
                <a:gd name="connsiteY3" fmla="*/ 1467233 h 1471057"/>
                <a:gd name="connsiteX4" fmla="*/ 122425 w 422872"/>
                <a:gd name="connsiteY4" fmla="*/ 1464984 h 1471057"/>
                <a:gd name="connsiteX5" fmla="*/ 122425 w 422872"/>
                <a:gd name="connsiteY5" fmla="*/ 1445190 h 1471057"/>
                <a:gd name="connsiteX6" fmla="*/ 124674 w 422872"/>
                <a:gd name="connsiteY6" fmla="*/ 1434843 h 1471057"/>
                <a:gd name="connsiteX7" fmla="*/ 122875 w 422872"/>
                <a:gd name="connsiteY7" fmla="*/ 1424946 h 1471057"/>
                <a:gd name="connsiteX8" fmla="*/ 128723 w 422872"/>
                <a:gd name="connsiteY8" fmla="*/ 1426746 h 1471057"/>
                <a:gd name="connsiteX9" fmla="*/ 132322 w 422872"/>
                <a:gd name="connsiteY9" fmla="*/ 1413699 h 1471057"/>
                <a:gd name="connsiteX10" fmla="*/ 129623 w 422872"/>
                <a:gd name="connsiteY10" fmla="*/ 1409201 h 1471057"/>
                <a:gd name="connsiteX11" fmla="*/ 129173 w 422872"/>
                <a:gd name="connsiteY11" fmla="*/ 1406502 h 1471057"/>
                <a:gd name="connsiteX12" fmla="*/ 146268 w 422872"/>
                <a:gd name="connsiteY12" fmla="*/ 1393905 h 1471057"/>
                <a:gd name="connsiteX13" fmla="*/ 142219 w 422872"/>
                <a:gd name="connsiteY13" fmla="*/ 1329575 h 1471057"/>
                <a:gd name="connsiteX14" fmla="*/ 135471 w 422872"/>
                <a:gd name="connsiteY14" fmla="*/ 1233304 h 1471057"/>
                <a:gd name="connsiteX15" fmla="*/ 145368 w 422872"/>
                <a:gd name="connsiteY15" fmla="*/ 1073602 h 1471057"/>
                <a:gd name="connsiteX16" fmla="*/ 149867 w 422872"/>
                <a:gd name="connsiteY16" fmla="*/ 1053358 h 1471057"/>
                <a:gd name="connsiteX17" fmla="*/ 154365 w 422872"/>
                <a:gd name="connsiteY17" fmla="*/ 984528 h 1471057"/>
                <a:gd name="connsiteX18" fmla="*/ 167861 w 422872"/>
                <a:gd name="connsiteY18" fmla="*/ 882859 h 1471057"/>
                <a:gd name="connsiteX19" fmla="*/ 174159 w 422872"/>
                <a:gd name="connsiteY19" fmla="*/ 852718 h 1471057"/>
                <a:gd name="connsiteX20" fmla="*/ 182257 w 422872"/>
                <a:gd name="connsiteY20" fmla="*/ 822127 h 1471057"/>
                <a:gd name="connsiteX21" fmla="*/ 193503 w 422872"/>
                <a:gd name="connsiteY21" fmla="*/ 865314 h 1471057"/>
                <a:gd name="connsiteX22" fmla="*/ 199802 w 422872"/>
                <a:gd name="connsiteY22" fmla="*/ 923797 h 1471057"/>
                <a:gd name="connsiteX23" fmla="*/ 199802 w 422872"/>
                <a:gd name="connsiteY23" fmla="*/ 1056957 h 1471057"/>
                <a:gd name="connsiteX24" fmla="*/ 199802 w 422872"/>
                <a:gd name="connsiteY24" fmla="*/ 1090697 h 1471057"/>
                <a:gd name="connsiteX25" fmla="*/ 207899 w 422872"/>
                <a:gd name="connsiteY25" fmla="*/ 1130734 h 1471057"/>
                <a:gd name="connsiteX26" fmla="*/ 202951 w 422872"/>
                <a:gd name="connsiteY26" fmla="*/ 1210811 h 1471057"/>
                <a:gd name="connsiteX27" fmla="*/ 197552 w 422872"/>
                <a:gd name="connsiteY27" fmla="*/ 1343970 h 1471057"/>
                <a:gd name="connsiteX28" fmla="*/ 200251 w 422872"/>
                <a:gd name="connsiteY28" fmla="*/ 1415949 h 1471057"/>
                <a:gd name="connsiteX29" fmla="*/ 195753 w 422872"/>
                <a:gd name="connsiteY29" fmla="*/ 1446989 h 1471057"/>
                <a:gd name="connsiteX30" fmla="*/ 199352 w 422872"/>
                <a:gd name="connsiteY30" fmla="*/ 1453737 h 1471057"/>
                <a:gd name="connsiteX31" fmla="*/ 199802 w 422872"/>
                <a:gd name="connsiteY31" fmla="*/ 1465884 h 1471057"/>
                <a:gd name="connsiteX32" fmla="*/ 230392 w 422872"/>
                <a:gd name="connsiteY32" fmla="*/ 1465884 h 1471057"/>
                <a:gd name="connsiteX33" fmla="*/ 244788 w 422872"/>
                <a:gd name="connsiteY33" fmla="*/ 1462735 h 1471057"/>
                <a:gd name="connsiteX34" fmla="*/ 256935 w 422872"/>
                <a:gd name="connsiteY34" fmla="*/ 1467683 h 1471057"/>
                <a:gd name="connsiteX35" fmla="*/ 355905 w 422872"/>
                <a:gd name="connsiteY35" fmla="*/ 1462285 h 1471057"/>
                <a:gd name="connsiteX36" fmla="*/ 355455 w 422872"/>
                <a:gd name="connsiteY36" fmla="*/ 1455537 h 1471057"/>
                <a:gd name="connsiteX37" fmla="*/ 352306 w 422872"/>
                <a:gd name="connsiteY37" fmla="*/ 1441141 h 1471057"/>
                <a:gd name="connsiteX38" fmla="*/ 331162 w 422872"/>
                <a:gd name="connsiteY38" fmla="*/ 1433943 h 1471057"/>
                <a:gd name="connsiteX39" fmla="*/ 305970 w 422872"/>
                <a:gd name="connsiteY39" fmla="*/ 1415499 h 1471057"/>
                <a:gd name="connsiteX40" fmla="*/ 312718 w 422872"/>
                <a:gd name="connsiteY40" fmla="*/ 1391206 h 1471057"/>
                <a:gd name="connsiteX41" fmla="*/ 308219 w 422872"/>
                <a:gd name="connsiteY41" fmla="*/ 1365564 h 1471057"/>
                <a:gd name="connsiteX42" fmla="*/ 302371 w 422872"/>
                <a:gd name="connsiteY42" fmla="*/ 1323277 h 1471057"/>
                <a:gd name="connsiteX43" fmla="*/ 304170 w 422872"/>
                <a:gd name="connsiteY43" fmla="*/ 1259846 h 1471057"/>
                <a:gd name="connsiteX44" fmla="*/ 304170 w 422872"/>
                <a:gd name="connsiteY44" fmla="*/ 1240052 h 1471057"/>
                <a:gd name="connsiteX45" fmla="*/ 304620 w 422872"/>
                <a:gd name="connsiteY45" fmla="*/ 1202713 h 1471057"/>
                <a:gd name="connsiteX46" fmla="*/ 306869 w 422872"/>
                <a:gd name="connsiteY46" fmla="*/ 1168523 h 1471057"/>
                <a:gd name="connsiteX47" fmla="*/ 327113 w 422872"/>
                <a:gd name="connsiteY47" fmla="*/ 1007022 h 1471057"/>
                <a:gd name="connsiteX48" fmla="*/ 348707 w 422872"/>
                <a:gd name="connsiteY48" fmla="*/ 843271 h 1471057"/>
                <a:gd name="connsiteX49" fmla="*/ 345108 w 422872"/>
                <a:gd name="connsiteY49" fmla="*/ 755997 h 1471057"/>
                <a:gd name="connsiteX50" fmla="*/ 343758 w 422872"/>
                <a:gd name="connsiteY50" fmla="*/ 729005 h 1471057"/>
                <a:gd name="connsiteX51" fmla="*/ 327563 w 422872"/>
                <a:gd name="connsiteY51" fmla="*/ 645781 h 1471057"/>
                <a:gd name="connsiteX52" fmla="*/ 328013 w 422872"/>
                <a:gd name="connsiteY52" fmla="*/ 634084 h 1471057"/>
                <a:gd name="connsiteX53" fmla="*/ 334311 w 422872"/>
                <a:gd name="connsiteY53" fmla="*/ 629135 h 1471057"/>
                <a:gd name="connsiteX54" fmla="*/ 334311 w 422872"/>
                <a:gd name="connsiteY54" fmla="*/ 629135 h 1471057"/>
                <a:gd name="connsiteX55" fmla="*/ 334761 w 422872"/>
                <a:gd name="connsiteY55" fmla="*/ 627336 h 1471057"/>
                <a:gd name="connsiteX56" fmla="*/ 335211 w 422872"/>
                <a:gd name="connsiteY56" fmla="*/ 622838 h 1471057"/>
                <a:gd name="connsiteX57" fmla="*/ 334761 w 422872"/>
                <a:gd name="connsiteY57" fmla="*/ 571103 h 1471057"/>
                <a:gd name="connsiteX58" fmla="*/ 382897 w 422872"/>
                <a:gd name="connsiteY58" fmla="*/ 572902 h 1471057"/>
                <a:gd name="connsiteX59" fmla="*/ 417536 w 422872"/>
                <a:gd name="connsiteY59" fmla="*/ 556258 h 1471057"/>
                <a:gd name="connsiteX60" fmla="*/ 417536 w 422872"/>
                <a:gd name="connsiteY60" fmla="*/ 512621 h 1471057"/>
                <a:gd name="connsiteX61" fmla="*/ 410338 w 422872"/>
                <a:gd name="connsiteY61" fmla="*/ 396106 h 1471057"/>
                <a:gd name="connsiteX62" fmla="*/ 407639 w 422872"/>
                <a:gd name="connsiteY62" fmla="*/ 347970 h 1471057"/>
                <a:gd name="connsiteX63" fmla="*/ 397742 w 422872"/>
                <a:gd name="connsiteY63" fmla="*/ 327726 h 1471057"/>
                <a:gd name="connsiteX64" fmla="*/ 393243 w 422872"/>
                <a:gd name="connsiteY64" fmla="*/ 309282 h 1471057"/>
                <a:gd name="connsiteX65" fmla="*/ 376598 w 422872"/>
                <a:gd name="connsiteY65" fmla="*/ 289488 h 1471057"/>
                <a:gd name="connsiteX66" fmla="*/ 353655 w 422872"/>
                <a:gd name="connsiteY66" fmla="*/ 277342 h 1471057"/>
                <a:gd name="connsiteX67" fmla="*/ 326664 w 422872"/>
                <a:gd name="connsiteY67" fmla="*/ 265195 h 1471057"/>
                <a:gd name="connsiteX68" fmla="*/ 284826 w 422872"/>
                <a:gd name="connsiteY68" fmla="*/ 244052 h 1471057"/>
                <a:gd name="connsiteX69" fmla="*/ 279878 w 422872"/>
                <a:gd name="connsiteY69" fmla="*/ 237304 h 1471057"/>
                <a:gd name="connsiteX70" fmla="*/ 278528 w 422872"/>
                <a:gd name="connsiteY70" fmla="*/ 215260 h 1471057"/>
                <a:gd name="connsiteX71" fmla="*/ 276279 w 422872"/>
                <a:gd name="connsiteY71" fmla="*/ 207613 h 1471057"/>
                <a:gd name="connsiteX72" fmla="*/ 274029 w 422872"/>
                <a:gd name="connsiteY72" fmla="*/ 209862 h 1471057"/>
                <a:gd name="connsiteX73" fmla="*/ 278978 w 422872"/>
                <a:gd name="connsiteY73" fmla="*/ 201764 h 1471057"/>
                <a:gd name="connsiteX74" fmla="*/ 288425 w 422872"/>
                <a:gd name="connsiteY74" fmla="*/ 175222 h 1471057"/>
                <a:gd name="connsiteX75" fmla="*/ 294723 w 422872"/>
                <a:gd name="connsiteY75" fmla="*/ 136534 h 1471057"/>
                <a:gd name="connsiteX76" fmla="*/ 298322 w 422872"/>
                <a:gd name="connsiteY76" fmla="*/ 124388 h 1471057"/>
                <a:gd name="connsiteX77" fmla="*/ 298322 w 422872"/>
                <a:gd name="connsiteY77" fmla="*/ 111341 h 1471057"/>
                <a:gd name="connsiteX78" fmla="*/ 301021 w 422872"/>
                <a:gd name="connsiteY78" fmla="*/ 99645 h 1471057"/>
                <a:gd name="connsiteX79" fmla="*/ 296073 w 422872"/>
                <a:gd name="connsiteY79" fmla="*/ 87499 h 1471057"/>
                <a:gd name="connsiteX80" fmla="*/ 295623 w 422872"/>
                <a:gd name="connsiteY80" fmla="*/ 77602 h 1471057"/>
                <a:gd name="connsiteX81" fmla="*/ 290224 w 422872"/>
                <a:gd name="connsiteY81" fmla="*/ 47461 h 1471057"/>
                <a:gd name="connsiteX82" fmla="*/ 285276 w 422872"/>
                <a:gd name="connsiteY82" fmla="*/ 33065 h 1471057"/>
                <a:gd name="connsiteX83" fmla="*/ 274929 w 422872"/>
                <a:gd name="connsiteY83" fmla="*/ 19569 h 1471057"/>
                <a:gd name="connsiteX84" fmla="*/ 253785 w 422872"/>
                <a:gd name="connsiteY84" fmla="*/ 7423 h 1471057"/>
                <a:gd name="connsiteX85" fmla="*/ 240739 w 422872"/>
                <a:gd name="connsiteY85" fmla="*/ 5174 h 1471057"/>
                <a:gd name="connsiteX86" fmla="*/ 233991 w 422872"/>
                <a:gd name="connsiteY86" fmla="*/ 6973 h 1471057"/>
                <a:gd name="connsiteX87" fmla="*/ 234441 w 422872"/>
                <a:gd name="connsiteY87" fmla="*/ 3374 h 1471057"/>
                <a:gd name="connsiteX88" fmla="*/ 230842 w 422872"/>
                <a:gd name="connsiteY88" fmla="*/ 6073 h 1471057"/>
                <a:gd name="connsiteX89" fmla="*/ 221395 w 422872"/>
                <a:gd name="connsiteY89" fmla="*/ 6523 h 1471057"/>
                <a:gd name="connsiteX90" fmla="*/ 212848 w 422872"/>
                <a:gd name="connsiteY90" fmla="*/ 8322 h 1471057"/>
                <a:gd name="connsiteX91" fmla="*/ 191704 w 422872"/>
                <a:gd name="connsiteY91" fmla="*/ 20469 h 1471057"/>
                <a:gd name="connsiteX92" fmla="*/ 180008 w 422872"/>
                <a:gd name="connsiteY92" fmla="*/ 27217 h 1471057"/>
                <a:gd name="connsiteX93" fmla="*/ 168311 w 422872"/>
                <a:gd name="connsiteY93" fmla="*/ 37114 h 1471057"/>
                <a:gd name="connsiteX94" fmla="*/ 161563 w 422872"/>
                <a:gd name="connsiteY94" fmla="*/ 58707 h 1471057"/>
                <a:gd name="connsiteX95" fmla="*/ 160214 w 422872"/>
                <a:gd name="connsiteY95" fmla="*/ 83450 h 1471057"/>
                <a:gd name="connsiteX96" fmla="*/ 161563 w 422872"/>
                <a:gd name="connsiteY96" fmla="*/ 103694 h 1471057"/>
                <a:gd name="connsiteX97" fmla="*/ 163813 w 422872"/>
                <a:gd name="connsiteY97" fmla="*/ 114940 h 1471057"/>
                <a:gd name="connsiteX98" fmla="*/ 155265 w 422872"/>
                <a:gd name="connsiteY98" fmla="*/ 121688 h 1471057"/>
                <a:gd name="connsiteX99" fmla="*/ 161563 w 422872"/>
                <a:gd name="connsiteY99" fmla="*/ 146431 h 1471057"/>
                <a:gd name="connsiteX100" fmla="*/ 178658 w 422872"/>
                <a:gd name="connsiteY100" fmla="*/ 163526 h 1471057"/>
                <a:gd name="connsiteX101" fmla="*/ 183606 w 422872"/>
                <a:gd name="connsiteY101" fmla="*/ 193667 h 1471057"/>
                <a:gd name="connsiteX102" fmla="*/ 183606 w 422872"/>
                <a:gd name="connsiteY102" fmla="*/ 193667 h 1471057"/>
                <a:gd name="connsiteX103" fmla="*/ 183157 w 422872"/>
                <a:gd name="connsiteY103" fmla="*/ 195016 h 1471057"/>
                <a:gd name="connsiteX104" fmla="*/ 183157 w 422872"/>
                <a:gd name="connsiteY104" fmla="*/ 195016 h 1471057"/>
                <a:gd name="connsiteX105" fmla="*/ 173710 w 422872"/>
                <a:gd name="connsiteY105" fmla="*/ 208962 h 1471057"/>
                <a:gd name="connsiteX106" fmla="*/ 165612 w 422872"/>
                <a:gd name="connsiteY106" fmla="*/ 225157 h 1471057"/>
                <a:gd name="connsiteX107" fmla="*/ 165162 w 422872"/>
                <a:gd name="connsiteY107" fmla="*/ 228756 h 1471057"/>
                <a:gd name="connsiteX108" fmla="*/ 120625 w 422872"/>
                <a:gd name="connsiteY108" fmla="*/ 243602 h 1471057"/>
                <a:gd name="connsiteX109" fmla="*/ 62593 w 422872"/>
                <a:gd name="connsiteY109" fmla="*/ 275542 h 1471057"/>
                <a:gd name="connsiteX110" fmla="*/ 39650 w 422872"/>
                <a:gd name="connsiteY110" fmla="*/ 326377 h 1471057"/>
                <a:gd name="connsiteX111" fmla="*/ 27504 w 422872"/>
                <a:gd name="connsiteY111" fmla="*/ 403304 h 1471057"/>
                <a:gd name="connsiteX112" fmla="*/ 18956 w 422872"/>
                <a:gd name="connsiteY112" fmla="*/ 484279 h 1471057"/>
                <a:gd name="connsiteX113" fmla="*/ 30203 w 422872"/>
                <a:gd name="connsiteY113" fmla="*/ 522068 h 1471057"/>
                <a:gd name="connsiteX114" fmla="*/ 44598 w 422872"/>
                <a:gd name="connsiteY114" fmla="*/ 542312 h 1471057"/>
                <a:gd name="connsiteX115" fmla="*/ 37850 w 422872"/>
                <a:gd name="connsiteY115" fmla="*/ 588648 h 1471057"/>
                <a:gd name="connsiteX116" fmla="*/ 48197 w 422872"/>
                <a:gd name="connsiteY116" fmla="*/ 612491 h 1471057"/>
                <a:gd name="connsiteX117" fmla="*/ 49547 w 422872"/>
                <a:gd name="connsiteY117" fmla="*/ 612940 h 1471057"/>
                <a:gd name="connsiteX118" fmla="*/ 48197 w 422872"/>
                <a:gd name="connsiteY118" fmla="*/ 622838 h 1471057"/>
                <a:gd name="connsiteX119" fmla="*/ 48197 w 422872"/>
                <a:gd name="connsiteY119" fmla="*/ 634984 h 1471057"/>
                <a:gd name="connsiteX120" fmla="*/ 45498 w 422872"/>
                <a:gd name="connsiteY120" fmla="*/ 646231 h 1471057"/>
                <a:gd name="connsiteX121" fmla="*/ 43249 w 422872"/>
                <a:gd name="connsiteY121" fmla="*/ 656577 h 1471057"/>
                <a:gd name="connsiteX122" fmla="*/ 41899 w 422872"/>
                <a:gd name="connsiteY122" fmla="*/ 659276 h 1471057"/>
                <a:gd name="connsiteX123" fmla="*/ 36951 w 422872"/>
                <a:gd name="connsiteY123" fmla="*/ 679520 h 1471057"/>
                <a:gd name="connsiteX124" fmla="*/ 24804 w 422872"/>
                <a:gd name="connsiteY124" fmla="*/ 788837 h 1471057"/>
                <a:gd name="connsiteX125" fmla="*/ 27953 w 422872"/>
                <a:gd name="connsiteY125" fmla="*/ 814930 h 1471057"/>
                <a:gd name="connsiteX126" fmla="*/ 24355 w 422872"/>
                <a:gd name="connsiteY126" fmla="*/ 864865 h 1471057"/>
                <a:gd name="connsiteX127" fmla="*/ 25704 w 422872"/>
                <a:gd name="connsiteY127" fmla="*/ 904453 h 1471057"/>
                <a:gd name="connsiteX128" fmla="*/ 26154 w 422872"/>
                <a:gd name="connsiteY128" fmla="*/ 1007472 h 1471057"/>
                <a:gd name="connsiteX129" fmla="*/ 27504 w 422872"/>
                <a:gd name="connsiteY129" fmla="*/ 1056057 h 1471057"/>
                <a:gd name="connsiteX130" fmla="*/ 27504 w 422872"/>
                <a:gd name="connsiteY130" fmla="*/ 1127136 h 1471057"/>
                <a:gd name="connsiteX131" fmla="*/ 22555 w 422872"/>
                <a:gd name="connsiteY131" fmla="*/ 1284138 h 1471057"/>
                <a:gd name="connsiteX132" fmla="*/ 18056 w 422872"/>
                <a:gd name="connsiteY132" fmla="*/ 1340821 h 1471057"/>
                <a:gd name="connsiteX133" fmla="*/ 26604 w 422872"/>
                <a:gd name="connsiteY133" fmla="*/ 1360165 h 1471057"/>
                <a:gd name="connsiteX134" fmla="*/ 27953 w 422872"/>
                <a:gd name="connsiteY134" fmla="*/ 1392106 h 1471057"/>
                <a:gd name="connsiteX135" fmla="*/ 31552 w 422872"/>
                <a:gd name="connsiteY135" fmla="*/ 1416848 h 1471057"/>
                <a:gd name="connsiteX136" fmla="*/ 13108 w 422872"/>
                <a:gd name="connsiteY136" fmla="*/ 1437092 h 1471057"/>
                <a:gd name="connsiteX137" fmla="*/ 7709 w 422872"/>
                <a:gd name="connsiteY137" fmla="*/ 1456886 h 1471057"/>
                <a:gd name="connsiteX138" fmla="*/ 7260 w 422872"/>
                <a:gd name="connsiteY138" fmla="*/ 1464984 h 14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422872" h="1471057">
                  <a:moveTo>
                    <a:pt x="7260" y="1464984"/>
                  </a:moveTo>
                  <a:cubicBezTo>
                    <a:pt x="13558" y="1466783"/>
                    <a:pt x="73840" y="1469033"/>
                    <a:pt x="81487" y="1468583"/>
                  </a:cubicBezTo>
                  <a:cubicBezTo>
                    <a:pt x="89135" y="1468133"/>
                    <a:pt x="97682" y="1464984"/>
                    <a:pt x="97682" y="1464984"/>
                  </a:cubicBezTo>
                  <a:cubicBezTo>
                    <a:pt x="97682" y="1464984"/>
                    <a:pt x="101281" y="1466783"/>
                    <a:pt x="103081" y="1467233"/>
                  </a:cubicBezTo>
                  <a:cubicBezTo>
                    <a:pt x="104880" y="1467683"/>
                    <a:pt x="121075" y="1465884"/>
                    <a:pt x="122425" y="1464984"/>
                  </a:cubicBezTo>
                  <a:cubicBezTo>
                    <a:pt x="123774" y="1463634"/>
                    <a:pt x="122425" y="1451488"/>
                    <a:pt x="122425" y="1445190"/>
                  </a:cubicBezTo>
                  <a:cubicBezTo>
                    <a:pt x="124674" y="1444290"/>
                    <a:pt x="126024" y="1438892"/>
                    <a:pt x="124674" y="1434843"/>
                  </a:cubicBezTo>
                  <a:cubicBezTo>
                    <a:pt x="123774" y="1431244"/>
                    <a:pt x="122875" y="1427645"/>
                    <a:pt x="122875" y="1424946"/>
                  </a:cubicBezTo>
                  <a:cubicBezTo>
                    <a:pt x="128273" y="1427195"/>
                    <a:pt x="128723" y="1426746"/>
                    <a:pt x="128723" y="1426746"/>
                  </a:cubicBezTo>
                  <a:cubicBezTo>
                    <a:pt x="139970" y="1423596"/>
                    <a:pt x="133222" y="1419098"/>
                    <a:pt x="132322" y="1413699"/>
                  </a:cubicBezTo>
                  <a:cubicBezTo>
                    <a:pt x="131872" y="1411450"/>
                    <a:pt x="130522" y="1410100"/>
                    <a:pt x="129623" y="1409201"/>
                  </a:cubicBezTo>
                  <a:cubicBezTo>
                    <a:pt x="129623" y="1408301"/>
                    <a:pt x="129623" y="1407401"/>
                    <a:pt x="129173" y="1406502"/>
                  </a:cubicBezTo>
                  <a:cubicBezTo>
                    <a:pt x="133222" y="1406052"/>
                    <a:pt x="141769" y="1412800"/>
                    <a:pt x="146268" y="1393905"/>
                  </a:cubicBezTo>
                  <a:cubicBezTo>
                    <a:pt x="150766" y="1375011"/>
                    <a:pt x="144468" y="1346669"/>
                    <a:pt x="142219" y="1329575"/>
                  </a:cubicBezTo>
                  <a:cubicBezTo>
                    <a:pt x="139970" y="1312480"/>
                    <a:pt x="135471" y="1271542"/>
                    <a:pt x="135471" y="1233304"/>
                  </a:cubicBezTo>
                  <a:cubicBezTo>
                    <a:pt x="138620" y="1175721"/>
                    <a:pt x="142669" y="1111390"/>
                    <a:pt x="145368" y="1073602"/>
                  </a:cubicBezTo>
                  <a:cubicBezTo>
                    <a:pt x="146718" y="1067304"/>
                    <a:pt x="148067" y="1060556"/>
                    <a:pt x="149867" y="1053358"/>
                  </a:cubicBezTo>
                  <a:cubicBezTo>
                    <a:pt x="154365" y="1034464"/>
                    <a:pt x="153466" y="1004772"/>
                    <a:pt x="154365" y="984528"/>
                  </a:cubicBezTo>
                  <a:cubicBezTo>
                    <a:pt x="158864" y="948989"/>
                    <a:pt x="164262" y="907152"/>
                    <a:pt x="167861" y="882859"/>
                  </a:cubicBezTo>
                  <a:cubicBezTo>
                    <a:pt x="170110" y="873412"/>
                    <a:pt x="172360" y="862166"/>
                    <a:pt x="174159" y="852718"/>
                  </a:cubicBezTo>
                  <a:cubicBezTo>
                    <a:pt x="177758" y="838773"/>
                    <a:pt x="181807" y="819878"/>
                    <a:pt x="182257" y="822127"/>
                  </a:cubicBezTo>
                  <a:cubicBezTo>
                    <a:pt x="183157" y="824377"/>
                    <a:pt x="190804" y="852268"/>
                    <a:pt x="193503" y="865314"/>
                  </a:cubicBezTo>
                  <a:cubicBezTo>
                    <a:pt x="195753" y="878361"/>
                    <a:pt x="199802" y="908051"/>
                    <a:pt x="199802" y="923797"/>
                  </a:cubicBezTo>
                  <a:cubicBezTo>
                    <a:pt x="199802" y="939992"/>
                    <a:pt x="198452" y="1051558"/>
                    <a:pt x="199802" y="1056957"/>
                  </a:cubicBezTo>
                  <a:cubicBezTo>
                    <a:pt x="201151" y="1062355"/>
                    <a:pt x="200251" y="1081249"/>
                    <a:pt x="199802" y="1090697"/>
                  </a:cubicBezTo>
                  <a:cubicBezTo>
                    <a:pt x="199352" y="1100144"/>
                    <a:pt x="206100" y="1125786"/>
                    <a:pt x="207899" y="1130734"/>
                  </a:cubicBezTo>
                  <a:cubicBezTo>
                    <a:pt x="209249" y="1135683"/>
                    <a:pt x="203850" y="1184268"/>
                    <a:pt x="202951" y="1210811"/>
                  </a:cubicBezTo>
                  <a:cubicBezTo>
                    <a:pt x="202051" y="1237802"/>
                    <a:pt x="200251" y="1326426"/>
                    <a:pt x="197552" y="1343970"/>
                  </a:cubicBezTo>
                  <a:cubicBezTo>
                    <a:pt x="192604" y="1371862"/>
                    <a:pt x="202051" y="1393455"/>
                    <a:pt x="200251" y="1415949"/>
                  </a:cubicBezTo>
                  <a:cubicBezTo>
                    <a:pt x="199802" y="1419098"/>
                    <a:pt x="195753" y="1435743"/>
                    <a:pt x="195753" y="1446989"/>
                  </a:cubicBezTo>
                  <a:cubicBezTo>
                    <a:pt x="195753" y="1451038"/>
                    <a:pt x="199352" y="1451938"/>
                    <a:pt x="199352" y="1453737"/>
                  </a:cubicBezTo>
                  <a:cubicBezTo>
                    <a:pt x="199352" y="1460935"/>
                    <a:pt x="198452" y="1465884"/>
                    <a:pt x="199802" y="1465884"/>
                  </a:cubicBezTo>
                  <a:cubicBezTo>
                    <a:pt x="201151" y="1465884"/>
                    <a:pt x="228593" y="1465434"/>
                    <a:pt x="230392" y="1465884"/>
                  </a:cubicBezTo>
                  <a:cubicBezTo>
                    <a:pt x="232192" y="1465434"/>
                    <a:pt x="244788" y="1462735"/>
                    <a:pt x="244788" y="1462735"/>
                  </a:cubicBezTo>
                  <a:cubicBezTo>
                    <a:pt x="244788" y="1462735"/>
                    <a:pt x="247937" y="1464534"/>
                    <a:pt x="256935" y="1467683"/>
                  </a:cubicBezTo>
                  <a:cubicBezTo>
                    <a:pt x="329363" y="1473981"/>
                    <a:pt x="353205" y="1463634"/>
                    <a:pt x="355905" y="1462285"/>
                  </a:cubicBezTo>
                  <a:cubicBezTo>
                    <a:pt x="358604" y="1460935"/>
                    <a:pt x="358604" y="1456886"/>
                    <a:pt x="355455" y="1455537"/>
                  </a:cubicBezTo>
                  <a:cubicBezTo>
                    <a:pt x="355005" y="1451488"/>
                    <a:pt x="355005" y="1443390"/>
                    <a:pt x="352306" y="1441141"/>
                  </a:cubicBezTo>
                  <a:cubicBezTo>
                    <a:pt x="349607" y="1438892"/>
                    <a:pt x="336560" y="1436193"/>
                    <a:pt x="331162" y="1433943"/>
                  </a:cubicBezTo>
                  <a:cubicBezTo>
                    <a:pt x="325764" y="1431694"/>
                    <a:pt x="308669" y="1419548"/>
                    <a:pt x="305970" y="1415499"/>
                  </a:cubicBezTo>
                  <a:cubicBezTo>
                    <a:pt x="305970" y="1408751"/>
                    <a:pt x="309568" y="1402902"/>
                    <a:pt x="312718" y="1391206"/>
                  </a:cubicBezTo>
                  <a:cubicBezTo>
                    <a:pt x="316316" y="1379510"/>
                    <a:pt x="310918" y="1372762"/>
                    <a:pt x="308219" y="1365564"/>
                  </a:cubicBezTo>
                  <a:cubicBezTo>
                    <a:pt x="305070" y="1358366"/>
                    <a:pt x="301471" y="1338122"/>
                    <a:pt x="302371" y="1323277"/>
                  </a:cubicBezTo>
                  <a:cubicBezTo>
                    <a:pt x="303271" y="1308431"/>
                    <a:pt x="304170" y="1289087"/>
                    <a:pt x="304170" y="1259846"/>
                  </a:cubicBezTo>
                  <a:cubicBezTo>
                    <a:pt x="304170" y="1253548"/>
                    <a:pt x="304170" y="1246800"/>
                    <a:pt x="304170" y="1240052"/>
                  </a:cubicBezTo>
                  <a:cubicBezTo>
                    <a:pt x="304620" y="1224756"/>
                    <a:pt x="304620" y="1210811"/>
                    <a:pt x="304620" y="1202713"/>
                  </a:cubicBezTo>
                  <a:cubicBezTo>
                    <a:pt x="304620" y="1196865"/>
                    <a:pt x="305520" y="1184268"/>
                    <a:pt x="306869" y="1168523"/>
                  </a:cubicBezTo>
                  <a:cubicBezTo>
                    <a:pt x="310468" y="1138382"/>
                    <a:pt x="320365" y="1057407"/>
                    <a:pt x="327113" y="1007022"/>
                  </a:cubicBezTo>
                  <a:cubicBezTo>
                    <a:pt x="334311" y="952588"/>
                    <a:pt x="346457" y="860816"/>
                    <a:pt x="348707" y="843271"/>
                  </a:cubicBezTo>
                  <a:cubicBezTo>
                    <a:pt x="350506" y="829325"/>
                    <a:pt x="346907" y="777591"/>
                    <a:pt x="345108" y="755997"/>
                  </a:cubicBezTo>
                  <a:cubicBezTo>
                    <a:pt x="344658" y="743851"/>
                    <a:pt x="343758" y="733954"/>
                    <a:pt x="343758" y="729005"/>
                  </a:cubicBezTo>
                  <a:cubicBezTo>
                    <a:pt x="342409" y="710561"/>
                    <a:pt x="330262" y="648930"/>
                    <a:pt x="327563" y="645781"/>
                  </a:cubicBezTo>
                  <a:cubicBezTo>
                    <a:pt x="328013" y="641732"/>
                    <a:pt x="327113" y="637233"/>
                    <a:pt x="328013" y="634084"/>
                  </a:cubicBezTo>
                  <a:cubicBezTo>
                    <a:pt x="330262" y="633184"/>
                    <a:pt x="332961" y="632285"/>
                    <a:pt x="334311" y="629135"/>
                  </a:cubicBezTo>
                  <a:cubicBezTo>
                    <a:pt x="334311" y="629135"/>
                    <a:pt x="334311" y="629135"/>
                    <a:pt x="334311" y="629135"/>
                  </a:cubicBezTo>
                  <a:cubicBezTo>
                    <a:pt x="334761" y="628236"/>
                    <a:pt x="334761" y="627786"/>
                    <a:pt x="334761" y="627336"/>
                  </a:cubicBezTo>
                  <a:cubicBezTo>
                    <a:pt x="335211" y="625987"/>
                    <a:pt x="335211" y="624637"/>
                    <a:pt x="335211" y="622838"/>
                  </a:cubicBezTo>
                  <a:cubicBezTo>
                    <a:pt x="335211" y="607992"/>
                    <a:pt x="334761" y="571103"/>
                    <a:pt x="334761" y="571103"/>
                  </a:cubicBezTo>
                  <a:cubicBezTo>
                    <a:pt x="341059" y="575602"/>
                    <a:pt x="372550" y="574702"/>
                    <a:pt x="382897" y="572902"/>
                  </a:cubicBezTo>
                  <a:cubicBezTo>
                    <a:pt x="393243" y="571103"/>
                    <a:pt x="413487" y="563455"/>
                    <a:pt x="417536" y="556258"/>
                  </a:cubicBezTo>
                  <a:cubicBezTo>
                    <a:pt x="421585" y="549060"/>
                    <a:pt x="418886" y="522518"/>
                    <a:pt x="417536" y="512621"/>
                  </a:cubicBezTo>
                  <a:cubicBezTo>
                    <a:pt x="416186" y="502274"/>
                    <a:pt x="412138" y="419948"/>
                    <a:pt x="410338" y="396106"/>
                  </a:cubicBezTo>
                  <a:cubicBezTo>
                    <a:pt x="408089" y="371813"/>
                    <a:pt x="408089" y="354268"/>
                    <a:pt x="407639" y="347970"/>
                  </a:cubicBezTo>
                  <a:cubicBezTo>
                    <a:pt x="407189" y="341672"/>
                    <a:pt x="400441" y="330875"/>
                    <a:pt x="397742" y="327726"/>
                  </a:cubicBezTo>
                  <a:cubicBezTo>
                    <a:pt x="395043" y="324127"/>
                    <a:pt x="395943" y="317829"/>
                    <a:pt x="393243" y="309282"/>
                  </a:cubicBezTo>
                  <a:cubicBezTo>
                    <a:pt x="390544" y="300285"/>
                    <a:pt x="381547" y="293986"/>
                    <a:pt x="376598" y="289488"/>
                  </a:cubicBezTo>
                  <a:cubicBezTo>
                    <a:pt x="371650" y="284989"/>
                    <a:pt x="363552" y="280041"/>
                    <a:pt x="353655" y="277342"/>
                  </a:cubicBezTo>
                  <a:cubicBezTo>
                    <a:pt x="343758" y="274642"/>
                    <a:pt x="334311" y="267894"/>
                    <a:pt x="326664" y="265195"/>
                  </a:cubicBezTo>
                  <a:cubicBezTo>
                    <a:pt x="318566" y="262046"/>
                    <a:pt x="287525" y="245851"/>
                    <a:pt x="284826" y="244052"/>
                  </a:cubicBezTo>
                  <a:cubicBezTo>
                    <a:pt x="282127" y="242702"/>
                    <a:pt x="279878" y="241802"/>
                    <a:pt x="279878" y="237304"/>
                  </a:cubicBezTo>
                  <a:cubicBezTo>
                    <a:pt x="279878" y="232355"/>
                    <a:pt x="278528" y="218859"/>
                    <a:pt x="278528" y="215260"/>
                  </a:cubicBezTo>
                  <a:cubicBezTo>
                    <a:pt x="278528" y="211661"/>
                    <a:pt x="275829" y="205813"/>
                    <a:pt x="276279" y="207613"/>
                  </a:cubicBezTo>
                  <a:lnTo>
                    <a:pt x="274029" y="209862"/>
                  </a:lnTo>
                  <a:cubicBezTo>
                    <a:pt x="274929" y="207613"/>
                    <a:pt x="277628" y="203564"/>
                    <a:pt x="278978" y="201764"/>
                  </a:cubicBezTo>
                  <a:cubicBezTo>
                    <a:pt x="281227" y="199065"/>
                    <a:pt x="284826" y="190068"/>
                    <a:pt x="288425" y="175222"/>
                  </a:cubicBezTo>
                  <a:cubicBezTo>
                    <a:pt x="292024" y="160377"/>
                    <a:pt x="292924" y="144182"/>
                    <a:pt x="294723" y="136534"/>
                  </a:cubicBezTo>
                  <a:cubicBezTo>
                    <a:pt x="296972" y="134284"/>
                    <a:pt x="297872" y="127087"/>
                    <a:pt x="298322" y="124388"/>
                  </a:cubicBezTo>
                  <a:cubicBezTo>
                    <a:pt x="298772" y="121239"/>
                    <a:pt x="299222" y="115390"/>
                    <a:pt x="298322" y="111341"/>
                  </a:cubicBezTo>
                  <a:cubicBezTo>
                    <a:pt x="297422" y="107293"/>
                    <a:pt x="299222" y="104594"/>
                    <a:pt x="301021" y="99645"/>
                  </a:cubicBezTo>
                  <a:cubicBezTo>
                    <a:pt x="302371" y="94696"/>
                    <a:pt x="297422" y="90198"/>
                    <a:pt x="296073" y="87499"/>
                  </a:cubicBezTo>
                  <a:cubicBezTo>
                    <a:pt x="294723" y="84799"/>
                    <a:pt x="295173" y="82100"/>
                    <a:pt x="295623" y="77602"/>
                  </a:cubicBezTo>
                  <a:cubicBezTo>
                    <a:pt x="295623" y="73103"/>
                    <a:pt x="291574" y="53759"/>
                    <a:pt x="290224" y="47461"/>
                  </a:cubicBezTo>
                  <a:cubicBezTo>
                    <a:pt x="288875" y="41163"/>
                    <a:pt x="287525" y="38913"/>
                    <a:pt x="285276" y="33065"/>
                  </a:cubicBezTo>
                  <a:cubicBezTo>
                    <a:pt x="283027" y="27667"/>
                    <a:pt x="279428" y="25867"/>
                    <a:pt x="274929" y="19569"/>
                  </a:cubicBezTo>
                  <a:cubicBezTo>
                    <a:pt x="270430" y="13271"/>
                    <a:pt x="258284" y="8322"/>
                    <a:pt x="253785" y="7423"/>
                  </a:cubicBezTo>
                  <a:cubicBezTo>
                    <a:pt x="249737" y="6073"/>
                    <a:pt x="244338" y="4274"/>
                    <a:pt x="240739" y="5174"/>
                  </a:cubicBezTo>
                  <a:cubicBezTo>
                    <a:pt x="237140" y="6073"/>
                    <a:pt x="233092" y="8322"/>
                    <a:pt x="233991" y="6973"/>
                  </a:cubicBezTo>
                  <a:cubicBezTo>
                    <a:pt x="234891" y="5623"/>
                    <a:pt x="234441" y="3374"/>
                    <a:pt x="234441" y="3374"/>
                  </a:cubicBezTo>
                  <a:cubicBezTo>
                    <a:pt x="234441" y="3374"/>
                    <a:pt x="233092" y="4724"/>
                    <a:pt x="230842" y="6073"/>
                  </a:cubicBezTo>
                  <a:cubicBezTo>
                    <a:pt x="228593" y="7423"/>
                    <a:pt x="225894" y="7423"/>
                    <a:pt x="221395" y="6523"/>
                  </a:cubicBezTo>
                  <a:cubicBezTo>
                    <a:pt x="217346" y="6073"/>
                    <a:pt x="217346" y="6073"/>
                    <a:pt x="212848" y="8322"/>
                  </a:cubicBezTo>
                  <a:cubicBezTo>
                    <a:pt x="208349" y="10572"/>
                    <a:pt x="198452" y="15520"/>
                    <a:pt x="191704" y="20469"/>
                  </a:cubicBezTo>
                  <a:cubicBezTo>
                    <a:pt x="184956" y="25867"/>
                    <a:pt x="185406" y="24518"/>
                    <a:pt x="180008" y="27217"/>
                  </a:cubicBezTo>
                  <a:cubicBezTo>
                    <a:pt x="174609" y="29916"/>
                    <a:pt x="172360" y="32615"/>
                    <a:pt x="168311" y="37114"/>
                  </a:cubicBezTo>
                  <a:cubicBezTo>
                    <a:pt x="164262" y="41612"/>
                    <a:pt x="162463" y="48810"/>
                    <a:pt x="161563" y="58707"/>
                  </a:cubicBezTo>
                  <a:cubicBezTo>
                    <a:pt x="160663" y="68604"/>
                    <a:pt x="161113" y="78501"/>
                    <a:pt x="160214" y="83450"/>
                  </a:cubicBezTo>
                  <a:cubicBezTo>
                    <a:pt x="159314" y="88398"/>
                    <a:pt x="160663" y="99645"/>
                    <a:pt x="161563" y="103694"/>
                  </a:cubicBezTo>
                  <a:cubicBezTo>
                    <a:pt x="162013" y="107743"/>
                    <a:pt x="164712" y="113141"/>
                    <a:pt x="163813" y="114940"/>
                  </a:cubicBezTo>
                  <a:cubicBezTo>
                    <a:pt x="154365" y="109992"/>
                    <a:pt x="153915" y="118989"/>
                    <a:pt x="155265" y="121688"/>
                  </a:cubicBezTo>
                  <a:cubicBezTo>
                    <a:pt x="156615" y="124388"/>
                    <a:pt x="158414" y="133835"/>
                    <a:pt x="161563" y="146431"/>
                  </a:cubicBezTo>
                  <a:cubicBezTo>
                    <a:pt x="164712" y="158577"/>
                    <a:pt x="176858" y="160827"/>
                    <a:pt x="178658" y="163526"/>
                  </a:cubicBezTo>
                  <a:cubicBezTo>
                    <a:pt x="180907" y="166675"/>
                    <a:pt x="182707" y="181070"/>
                    <a:pt x="183606" y="193667"/>
                  </a:cubicBezTo>
                  <a:cubicBezTo>
                    <a:pt x="183606" y="193667"/>
                    <a:pt x="183606" y="193667"/>
                    <a:pt x="183606" y="193667"/>
                  </a:cubicBezTo>
                  <a:cubicBezTo>
                    <a:pt x="183606" y="194117"/>
                    <a:pt x="183606" y="194566"/>
                    <a:pt x="183157" y="195016"/>
                  </a:cubicBezTo>
                  <a:cubicBezTo>
                    <a:pt x="183157" y="195016"/>
                    <a:pt x="183157" y="195016"/>
                    <a:pt x="183157" y="195016"/>
                  </a:cubicBezTo>
                  <a:cubicBezTo>
                    <a:pt x="178658" y="196366"/>
                    <a:pt x="176409" y="203114"/>
                    <a:pt x="173710" y="208962"/>
                  </a:cubicBezTo>
                  <a:cubicBezTo>
                    <a:pt x="170561" y="215260"/>
                    <a:pt x="165612" y="225157"/>
                    <a:pt x="165612" y="225157"/>
                  </a:cubicBezTo>
                  <a:cubicBezTo>
                    <a:pt x="165612" y="225157"/>
                    <a:pt x="166962" y="227857"/>
                    <a:pt x="165162" y="228756"/>
                  </a:cubicBezTo>
                  <a:cubicBezTo>
                    <a:pt x="163363" y="229656"/>
                    <a:pt x="137720" y="236404"/>
                    <a:pt x="120625" y="243602"/>
                  </a:cubicBezTo>
                  <a:cubicBezTo>
                    <a:pt x="103531" y="250799"/>
                    <a:pt x="78788" y="264295"/>
                    <a:pt x="62593" y="275542"/>
                  </a:cubicBezTo>
                  <a:cubicBezTo>
                    <a:pt x="46398" y="286789"/>
                    <a:pt x="40100" y="313331"/>
                    <a:pt x="39650" y="326377"/>
                  </a:cubicBezTo>
                  <a:cubicBezTo>
                    <a:pt x="39200" y="339423"/>
                    <a:pt x="28853" y="386659"/>
                    <a:pt x="27504" y="403304"/>
                  </a:cubicBezTo>
                  <a:cubicBezTo>
                    <a:pt x="26154" y="420398"/>
                    <a:pt x="18056" y="472133"/>
                    <a:pt x="18956" y="484279"/>
                  </a:cubicBezTo>
                  <a:cubicBezTo>
                    <a:pt x="19406" y="496425"/>
                    <a:pt x="26154" y="515320"/>
                    <a:pt x="30203" y="522068"/>
                  </a:cubicBezTo>
                  <a:cubicBezTo>
                    <a:pt x="34252" y="528366"/>
                    <a:pt x="43699" y="539163"/>
                    <a:pt x="44598" y="542312"/>
                  </a:cubicBezTo>
                  <a:cubicBezTo>
                    <a:pt x="45048" y="545911"/>
                    <a:pt x="39200" y="576502"/>
                    <a:pt x="37850" y="588648"/>
                  </a:cubicBezTo>
                  <a:cubicBezTo>
                    <a:pt x="36501" y="600794"/>
                    <a:pt x="45948" y="611141"/>
                    <a:pt x="48197" y="612491"/>
                  </a:cubicBezTo>
                  <a:cubicBezTo>
                    <a:pt x="48197" y="612491"/>
                    <a:pt x="48197" y="612491"/>
                    <a:pt x="49547" y="612940"/>
                  </a:cubicBezTo>
                  <a:cubicBezTo>
                    <a:pt x="49097" y="615640"/>
                    <a:pt x="48197" y="618789"/>
                    <a:pt x="48197" y="622838"/>
                  </a:cubicBezTo>
                  <a:cubicBezTo>
                    <a:pt x="47748" y="630035"/>
                    <a:pt x="48197" y="634984"/>
                    <a:pt x="48197" y="634984"/>
                  </a:cubicBezTo>
                  <a:cubicBezTo>
                    <a:pt x="48197" y="634984"/>
                    <a:pt x="46848" y="639483"/>
                    <a:pt x="45498" y="646231"/>
                  </a:cubicBezTo>
                  <a:cubicBezTo>
                    <a:pt x="44598" y="650279"/>
                    <a:pt x="44148" y="653428"/>
                    <a:pt x="43249" y="656577"/>
                  </a:cubicBezTo>
                  <a:cubicBezTo>
                    <a:pt x="42799" y="657477"/>
                    <a:pt x="42349" y="658377"/>
                    <a:pt x="41899" y="659276"/>
                  </a:cubicBezTo>
                  <a:cubicBezTo>
                    <a:pt x="39650" y="663775"/>
                    <a:pt x="37850" y="675921"/>
                    <a:pt x="36951" y="679520"/>
                  </a:cubicBezTo>
                  <a:cubicBezTo>
                    <a:pt x="28853" y="711461"/>
                    <a:pt x="24355" y="763195"/>
                    <a:pt x="24804" y="788837"/>
                  </a:cubicBezTo>
                  <a:cubicBezTo>
                    <a:pt x="24804" y="794686"/>
                    <a:pt x="26604" y="807732"/>
                    <a:pt x="27953" y="814930"/>
                  </a:cubicBezTo>
                  <a:cubicBezTo>
                    <a:pt x="29303" y="822127"/>
                    <a:pt x="24804" y="856767"/>
                    <a:pt x="24355" y="864865"/>
                  </a:cubicBezTo>
                  <a:cubicBezTo>
                    <a:pt x="23904" y="872962"/>
                    <a:pt x="24355" y="895006"/>
                    <a:pt x="25704" y="904453"/>
                  </a:cubicBezTo>
                  <a:cubicBezTo>
                    <a:pt x="27054" y="913900"/>
                    <a:pt x="26154" y="991276"/>
                    <a:pt x="26154" y="1007472"/>
                  </a:cubicBezTo>
                  <a:cubicBezTo>
                    <a:pt x="26154" y="1023667"/>
                    <a:pt x="28403" y="1049309"/>
                    <a:pt x="27504" y="1056057"/>
                  </a:cubicBezTo>
                  <a:cubicBezTo>
                    <a:pt x="26604" y="1062805"/>
                    <a:pt x="27504" y="1114090"/>
                    <a:pt x="27504" y="1127136"/>
                  </a:cubicBezTo>
                  <a:cubicBezTo>
                    <a:pt x="27504" y="1139282"/>
                    <a:pt x="23005" y="1258946"/>
                    <a:pt x="22555" y="1284138"/>
                  </a:cubicBezTo>
                  <a:cubicBezTo>
                    <a:pt x="22105" y="1305282"/>
                    <a:pt x="17607" y="1332274"/>
                    <a:pt x="18056" y="1340821"/>
                  </a:cubicBezTo>
                  <a:cubicBezTo>
                    <a:pt x="18506" y="1349369"/>
                    <a:pt x="25704" y="1353417"/>
                    <a:pt x="26604" y="1360165"/>
                  </a:cubicBezTo>
                  <a:cubicBezTo>
                    <a:pt x="27504" y="1366464"/>
                    <a:pt x="28853" y="1382659"/>
                    <a:pt x="27953" y="1392106"/>
                  </a:cubicBezTo>
                  <a:cubicBezTo>
                    <a:pt x="26604" y="1401553"/>
                    <a:pt x="32002" y="1414149"/>
                    <a:pt x="31552" y="1416848"/>
                  </a:cubicBezTo>
                  <a:cubicBezTo>
                    <a:pt x="31102" y="1419548"/>
                    <a:pt x="21205" y="1430344"/>
                    <a:pt x="13108" y="1437092"/>
                  </a:cubicBezTo>
                  <a:cubicBezTo>
                    <a:pt x="4560" y="1443840"/>
                    <a:pt x="7709" y="1456886"/>
                    <a:pt x="7709" y="1456886"/>
                  </a:cubicBezTo>
                  <a:cubicBezTo>
                    <a:pt x="3211" y="1456886"/>
                    <a:pt x="962" y="1463184"/>
                    <a:pt x="7260" y="1464984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9" name="任意多边形: 形状 9848">
              <a:extLst>
                <a:ext uri="{FF2B5EF4-FFF2-40B4-BE49-F238E27FC236}">
                  <a16:creationId xmlns:a16="http://schemas.microsoft.com/office/drawing/2014/main" id="{FC5DDEC6-69DC-45C2-832E-F223265A0D07}"/>
                </a:ext>
              </a:extLst>
            </p:cNvPr>
            <p:cNvSpPr/>
            <p:nvPr/>
          </p:nvSpPr>
          <p:spPr>
            <a:xfrm>
              <a:off x="8325074" y="4273091"/>
              <a:ext cx="876982" cy="1977874"/>
            </a:xfrm>
            <a:custGeom>
              <a:avLst/>
              <a:gdLst>
                <a:gd name="connsiteX0" fmla="*/ 6091 w 634308"/>
                <a:gd name="connsiteY0" fmla="*/ 1397072 h 1430569"/>
                <a:gd name="connsiteX1" fmla="*/ 1592 w 634308"/>
                <a:gd name="connsiteY1" fmla="*/ 1419115 h 1430569"/>
                <a:gd name="connsiteX2" fmla="*/ 84367 w 634308"/>
                <a:gd name="connsiteY2" fmla="*/ 1425863 h 1430569"/>
                <a:gd name="connsiteX3" fmla="*/ 87966 w 634308"/>
                <a:gd name="connsiteY3" fmla="*/ 1414617 h 1430569"/>
                <a:gd name="connsiteX4" fmla="*/ 133852 w 634308"/>
                <a:gd name="connsiteY4" fmla="*/ 1423164 h 1430569"/>
                <a:gd name="connsiteX5" fmla="*/ 133852 w 634308"/>
                <a:gd name="connsiteY5" fmla="*/ 1426313 h 1430569"/>
                <a:gd name="connsiteX6" fmla="*/ 163543 w 634308"/>
                <a:gd name="connsiteY6" fmla="*/ 1431262 h 1430569"/>
                <a:gd name="connsiteX7" fmla="*/ 187836 w 634308"/>
                <a:gd name="connsiteY7" fmla="*/ 1426763 h 1430569"/>
                <a:gd name="connsiteX8" fmla="*/ 202682 w 634308"/>
                <a:gd name="connsiteY8" fmla="*/ 1429912 h 1430569"/>
                <a:gd name="connsiteX9" fmla="*/ 315598 w 634308"/>
                <a:gd name="connsiteY9" fmla="*/ 1429912 h 1430569"/>
                <a:gd name="connsiteX10" fmla="*/ 338541 w 634308"/>
                <a:gd name="connsiteY10" fmla="*/ 1424964 h 1430569"/>
                <a:gd name="connsiteX11" fmla="*/ 342140 w 634308"/>
                <a:gd name="connsiteY11" fmla="*/ 1421815 h 1430569"/>
                <a:gd name="connsiteX12" fmla="*/ 339890 w 634308"/>
                <a:gd name="connsiteY12" fmla="*/ 1411918 h 1430569"/>
                <a:gd name="connsiteX13" fmla="*/ 333592 w 634308"/>
                <a:gd name="connsiteY13" fmla="*/ 1405619 h 1430569"/>
                <a:gd name="connsiteX14" fmla="*/ 328194 w 634308"/>
                <a:gd name="connsiteY14" fmla="*/ 1398422 h 1430569"/>
                <a:gd name="connsiteX15" fmla="*/ 295354 w 634308"/>
                <a:gd name="connsiteY15" fmla="*/ 1389874 h 1430569"/>
                <a:gd name="connsiteX16" fmla="*/ 278259 w 634308"/>
                <a:gd name="connsiteY16" fmla="*/ 1378178 h 1430569"/>
                <a:gd name="connsiteX17" fmla="*/ 263413 w 634308"/>
                <a:gd name="connsiteY17" fmla="*/ 1364682 h 1430569"/>
                <a:gd name="connsiteX18" fmla="*/ 251267 w 634308"/>
                <a:gd name="connsiteY18" fmla="*/ 1344438 h 1430569"/>
                <a:gd name="connsiteX19" fmla="*/ 254416 w 634308"/>
                <a:gd name="connsiteY19" fmla="*/ 1320145 h 1430569"/>
                <a:gd name="connsiteX20" fmla="*/ 254866 w 634308"/>
                <a:gd name="connsiteY20" fmla="*/ 1305750 h 1430569"/>
                <a:gd name="connsiteX21" fmla="*/ 244519 w 634308"/>
                <a:gd name="connsiteY21" fmla="*/ 1297652 h 1430569"/>
                <a:gd name="connsiteX22" fmla="*/ 249917 w 634308"/>
                <a:gd name="connsiteY22" fmla="*/ 1277858 h 1430569"/>
                <a:gd name="connsiteX23" fmla="*/ 244969 w 634308"/>
                <a:gd name="connsiteY23" fmla="*/ 1261663 h 1430569"/>
                <a:gd name="connsiteX24" fmla="*/ 233272 w 634308"/>
                <a:gd name="connsiteY24" fmla="*/ 1201381 h 1430569"/>
                <a:gd name="connsiteX25" fmla="*/ 223375 w 634308"/>
                <a:gd name="connsiteY25" fmla="*/ 1155495 h 1430569"/>
                <a:gd name="connsiteX26" fmla="*/ 230573 w 634308"/>
                <a:gd name="connsiteY26" fmla="*/ 1133451 h 1430569"/>
                <a:gd name="connsiteX27" fmla="*/ 240020 w 634308"/>
                <a:gd name="connsiteY27" fmla="*/ 1065072 h 1430569"/>
                <a:gd name="connsiteX28" fmla="*/ 249917 w 634308"/>
                <a:gd name="connsiteY28" fmla="*/ 950806 h 1430569"/>
                <a:gd name="connsiteX29" fmla="*/ 260264 w 634308"/>
                <a:gd name="connsiteY29" fmla="*/ 884226 h 1430569"/>
                <a:gd name="connsiteX30" fmla="*/ 265213 w 634308"/>
                <a:gd name="connsiteY30" fmla="*/ 854535 h 1430569"/>
                <a:gd name="connsiteX31" fmla="*/ 260714 w 634308"/>
                <a:gd name="connsiteY31" fmla="*/ 821245 h 1430569"/>
                <a:gd name="connsiteX32" fmla="*/ 265213 w 634308"/>
                <a:gd name="connsiteY32" fmla="*/ 789755 h 1430569"/>
                <a:gd name="connsiteX33" fmla="*/ 268812 w 634308"/>
                <a:gd name="connsiteY33" fmla="*/ 768161 h 1430569"/>
                <a:gd name="connsiteX34" fmla="*/ 274210 w 634308"/>
                <a:gd name="connsiteY34" fmla="*/ 740270 h 1430569"/>
                <a:gd name="connsiteX35" fmla="*/ 276010 w 634308"/>
                <a:gd name="connsiteY35" fmla="*/ 698882 h 1430569"/>
                <a:gd name="connsiteX36" fmla="*/ 271061 w 634308"/>
                <a:gd name="connsiteY36" fmla="*/ 652096 h 1430569"/>
                <a:gd name="connsiteX37" fmla="*/ 266562 w 634308"/>
                <a:gd name="connsiteY37" fmla="*/ 634102 h 1430569"/>
                <a:gd name="connsiteX38" fmla="*/ 278259 w 634308"/>
                <a:gd name="connsiteY38" fmla="*/ 631852 h 1430569"/>
                <a:gd name="connsiteX39" fmla="*/ 281858 w 634308"/>
                <a:gd name="connsiteY39" fmla="*/ 589115 h 1430569"/>
                <a:gd name="connsiteX40" fmla="*/ 283207 w 634308"/>
                <a:gd name="connsiteY40" fmla="*/ 536031 h 1430569"/>
                <a:gd name="connsiteX41" fmla="*/ 282758 w 634308"/>
                <a:gd name="connsiteY41" fmla="*/ 487896 h 1430569"/>
                <a:gd name="connsiteX42" fmla="*/ 279159 w 634308"/>
                <a:gd name="connsiteY42" fmla="*/ 455955 h 1430569"/>
                <a:gd name="connsiteX43" fmla="*/ 305251 w 634308"/>
                <a:gd name="connsiteY43" fmla="*/ 462703 h 1430569"/>
                <a:gd name="connsiteX44" fmla="*/ 326844 w 634308"/>
                <a:gd name="connsiteY44" fmla="*/ 466752 h 1430569"/>
                <a:gd name="connsiteX45" fmla="*/ 336291 w 634308"/>
                <a:gd name="connsiteY45" fmla="*/ 470801 h 1430569"/>
                <a:gd name="connsiteX46" fmla="*/ 358335 w 634308"/>
                <a:gd name="connsiteY46" fmla="*/ 484747 h 1430569"/>
                <a:gd name="connsiteX47" fmla="*/ 381728 w 634308"/>
                <a:gd name="connsiteY47" fmla="*/ 486546 h 1430569"/>
                <a:gd name="connsiteX48" fmla="*/ 398373 w 634308"/>
                <a:gd name="connsiteY48" fmla="*/ 468552 h 1430569"/>
                <a:gd name="connsiteX49" fmla="*/ 409619 w 634308"/>
                <a:gd name="connsiteY49" fmla="*/ 459104 h 1430569"/>
                <a:gd name="connsiteX50" fmla="*/ 410519 w 634308"/>
                <a:gd name="connsiteY50" fmla="*/ 458654 h 1430569"/>
                <a:gd name="connsiteX51" fmla="*/ 451906 w 634308"/>
                <a:gd name="connsiteY51" fmla="*/ 446058 h 1430569"/>
                <a:gd name="connsiteX52" fmla="*/ 483847 w 634308"/>
                <a:gd name="connsiteY52" fmla="*/ 435262 h 1430569"/>
                <a:gd name="connsiteX53" fmla="*/ 514438 w 634308"/>
                <a:gd name="connsiteY53" fmla="*/ 425365 h 1430569"/>
                <a:gd name="connsiteX54" fmla="*/ 523435 w 634308"/>
                <a:gd name="connsiteY54" fmla="*/ 424465 h 1430569"/>
                <a:gd name="connsiteX55" fmla="*/ 524785 w 634308"/>
                <a:gd name="connsiteY55" fmla="*/ 424915 h 1430569"/>
                <a:gd name="connsiteX56" fmla="*/ 527034 w 634308"/>
                <a:gd name="connsiteY56" fmla="*/ 426264 h 1430569"/>
                <a:gd name="connsiteX57" fmla="*/ 538281 w 634308"/>
                <a:gd name="connsiteY57" fmla="*/ 435262 h 1430569"/>
                <a:gd name="connsiteX58" fmla="*/ 558524 w 634308"/>
                <a:gd name="connsiteY58" fmla="*/ 443809 h 1430569"/>
                <a:gd name="connsiteX59" fmla="*/ 574719 w 634308"/>
                <a:gd name="connsiteY59" fmla="*/ 449657 h 1430569"/>
                <a:gd name="connsiteX60" fmla="*/ 594064 w 634308"/>
                <a:gd name="connsiteY60" fmla="*/ 461804 h 1430569"/>
                <a:gd name="connsiteX61" fmla="*/ 597213 w 634308"/>
                <a:gd name="connsiteY61" fmla="*/ 463603 h 1430569"/>
                <a:gd name="connsiteX62" fmla="*/ 600362 w 634308"/>
                <a:gd name="connsiteY62" fmla="*/ 465402 h 1430569"/>
                <a:gd name="connsiteX63" fmla="*/ 601262 w 634308"/>
                <a:gd name="connsiteY63" fmla="*/ 465852 h 1430569"/>
                <a:gd name="connsiteX64" fmla="*/ 612508 w 634308"/>
                <a:gd name="connsiteY64" fmla="*/ 468552 h 1430569"/>
                <a:gd name="connsiteX65" fmla="*/ 613408 w 634308"/>
                <a:gd name="connsiteY65" fmla="*/ 467652 h 1430569"/>
                <a:gd name="connsiteX66" fmla="*/ 613858 w 634308"/>
                <a:gd name="connsiteY66" fmla="*/ 464053 h 1430569"/>
                <a:gd name="connsiteX67" fmla="*/ 606660 w 634308"/>
                <a:gd name="connsiteY67" fmla="*/ 453706 h 1430569"/>
                <a:gd name="connsiteX68" fmla="*/ 603061 w 634308"/>
                <a:gd name="connsiteY68" fmla="*/ 451007 h 1430569"/>
                <a:gd name="connsiteX69" fmla="*/ 601262 w 634308"/>
                <a:gd name="connsiteY69" fmla="*/ 450107 h 1430569"/>
                <a:gd name="connsiteX70" fmla="*/ 590015 w 634308"/>
                <a:gd name="connsiteY70" fmla="*/ 441560 h 1430569"/>
                <a:gd name="connsiteX71" fmla="*/ 588665 w 634308"/>
                <a:gd name="connsiteY71" fmla="*/ 431213 h 1430569"/>
                <a:gd name="connsiteX72" fmla="*/ 593614 w 634308"/>
                <a:gd name="connsiteY72" fmla="*/ 428964 h 1430569"/>
                <a:gd name="connsiteX73" fmla="*/ 595863 w 634308"/>
                <a:gd name="connsiteY73" fmla="*/ 429413 h 1430569"/>
                <a:gd name="connsiteX74" fmla="*/ 596763 w 634308"/>
                <a:gd name="connsiteY74" fmla="*/ 429863 h 1430569"/>
                <a:gd name="connsiteX75" fmla="*/ 597213 w 634308"/>
                <a:gd name="connsiteY75" fmla="*/ 430313 h 1430569"/>
                <a:gd name="connsiteX76" fmla="*/ 601711 w 634308"/>
                <a:gd name="connsiteY76" fmla="*/ 433462 h 1430569"/>
                <a:gd name="connsiteX77" fmla="*/ 604860 w 634308"/>
                <a:gd name="connsiteY77" fmla="*/ 436161 h 1430569"/>
                <a:gd name="connsiteX78" fmla="*/ 614308 w 634308"/>
                <a:gd name="connsiteY78" fmla="*/ 448758 h 1430569"/>
                <a:gd name="connsiteX79" fmla="*/ 616557 w 634308"/>
                <a:gd name="connsiteY79" fmla="*/ 456855 h 1430569"/>
                <a:gd name="connsiteX80" fmla="*/ 617457 w 634308"/>
                <a:gd name="connsiteY80" fmla="*/ 468552 h 1430569"/>
                <a:gd name="connsiteX81" fmla="*/ 618356 w 634308"/>
                <a:gd name="connsiteY81" fmla="*/ 471701 h 1430569"/>
                <a:gd name="connsiteX82" fmla="*/ 621955 w 634308"/>
                <a:gd name="connsiteY82" fmla="*/ 476649 h 1430569"/>
                <a:gd name="connsiteX83" fmla="*/ 624205 w 634308"/>
                <a:gd name="connsiteY83" fmla="*/ 476649 h 1430569"/>
                <a:gd name="connsiteX84" fmla="*/ 624655 w 634308"/>
                <a:gd name="connsiteY84" fmla="*/ 476199 h 1430569"/>
                <a:gd name="connsiteX85" fmla="*/ 626004 w 634308"/>
                <a:gd name="connsiteY85" fmla="*/ 475750 h 1430569"/>
                <a:gd name="connsiteX86" fmla="*/ 628253 w 634308"/>
                <a:gd name="connsiteY86" fmla="*/ 465852 h 1430569"/>
                <a:gd name="connsiteX87" fmla="*/ 629603 w 634308"/>
                <a:gd name="connsiteY87" fmla="*/ 466302 h 1430569"/>
                <a:gd name="connsiteX88" fmla="*/ 632752 w 634308"/>
                <a:gd name="connsiteY88" fmla="*/ 464953 h 1430569"/>
                <a:gd name="connsiteX89" fmla="*/ 632752 w 634308"/>
                <a:gd name="connsiteY89" fmla="*/ 463603 h 1430569"/>
                <a:gd name="connsiteX90" fmla="*/ 633202 w 634308"/>
                <a:gd name="connsiteY90" fmla="*/ 456855 h 1430569"/>
                <a:gd name="connsiteX91" fmla="*/ 631852 w 634308"/>
                <a:gd name="connsiteY91" fmla="*/ 441110 h 1430569"/>
                <a:gd name="connsiteX92" fmla="*/ 614758 w 634308"/>
                <a:gd name="connsiteY92" fmla="*/ 415917 h 1430569"/>
                <a:gd name="connsiteX93" fmla="*/ 606660 w 634308"/>
                <a:gd name="connsiteY93" fmla="*/ 406021 h 1430569"/>
                <a:gd name="connsiteX94" fmla="*/ 606660 w 634308"/>
                <a:gd name="connsiteY94" fmla="*/ 406021 h 1430569"/>
                <a:gd name="connsiteX95" fmla="*/ 604411 w 634308"/>
                <a:gd name="connsiteY95" fmla="*/ 404671 h 1430569"/>
                <a:gd name="connsiteX96" fmla="*/ 600362 w 634308"/>
                <a:gd name="connsiteY96" fmla="*/ 401972 h 1430569"/>
                <a:gd name="connsiteX97" fmla="*/ 599912 w 634308"/>
                <a:gd name="connsiteY97" fmla="*/ 401522 h 1430569"/>
                <a:gd name="connsiteX98" fmla="*/ 593164 w 634308"/>
                <a:gd name="connsiteY98" fmla="*/ 397473 h 1430569"/>
                <a:gd name="connsiteX99" fmla="*/ 591365 w 634308"/>
                <a:gd name="connsiteY99" fmla="*/ 397473 h 1430569"/>
                <a:gd name="connsiteX100" fmla="*/ 573370 w 634308"/>
                <a:gd name="connsiteY100" fmla="*/ 395224 h 1430569"/>
                <a:gd name="connsiteX101" fmla="*/ 571571 w 634308"/>
                <a:gd name="connsiteY101" fmla="*/ 394774 h 1430569"/>
                <a:gd name="connsiteX102" fmla="*/ 552676 w 634308"/>
                <a:gd name="connsiteY102" fmla="*/ 391625 h 1430569"/>
                <a:gd name="connsiteX103" fmla="*/ 549977 w 634308"/>
                <a:gd name="connsiteY103" fmla="*/ 391175 h 1430569"/>
                <a:gd name="connsiteX104" fmla="*/ 528383 w 634308"/>
                <a:gd name="connsiteY104" fmla="*/ 387126 h 1430569"/>
                <a:gd name="connsiteX105" fmla="*/ 507240 w 634308"/>
                <a:gd name="connsiteY105" fmla="*/ 386226 h 1430569"/>
                <a:gd name="connsiteX106" fmla="*/ 446958 w 634308"/>
                <a:gd name="connsiteY106" fmla="*/ 389825 h 1430569"/>
                <a:gd name="connsiteX107" fmla="*/ 446958 w 634308"/>
                <a:gd name="connsiteY107" fmla="*/ 389825 h 1430569"/>
                <a:gd name="connsiteX108" fmla="*/ 397923 w 634308"/>
                <a:gd name="connsiteY108" fmla="*/ 373630 h 1430569"/>
                <a:gd name="connsiteX109" fmla="*/ 375880 w 634308"/>
                <a:gd name="connsiteY109" fmla="*/ 379029 h 1430569"/>
                <a:gd name="connsiteX110" fmla="*/ 365083 w 634308"/>
                <a:gd name="connsiteY110" fmla="*/ 376329 h 1430569"/>
                <a:gd name="connsiteX111" fmla="*/ 343489 w 634308"/>
                <a:gd name="connsiteY111" fmla="*/ 371381 h 1430569"/>
                <a:gd name="connsiteX112" fmla="*/ 317397 w 634308"/>
                <a:gd name="connsiteY112" fmla="*/ 365083 h 1430569"/>
                <a:gd name="connsiteX113" fmla="*/ 313348 w 634308"/>
                <a:gd name="connsiteY113" fmla="*/ 361484 h 1430569"/>
                <a:gd name="connsiteX114" fmla="*/ 301652 w 634308"/>
                <a:gd name="connsiteY114" fmla="*/ 350687 h 1430569"/>
                <a:gd name="connsiteX115" fmla="*/ 298503 w 634308"/>
                <a:gd name="connsiteY115" fmla="*/ 350687 h 1430569"/>
                <a:gd name="connsiteX116" fmla="*/ 282308 w 634308"/>
                <a:gd name="connsiteY116" fmla="*/ 334942 h 1430569"/>
                <a:gd name="connsiteX117" fmla="*/ 238221 w 634308"/>
                <a:gd name="connsiteY117" fmla="*/ 298503 h 1430569"/>
                <a:gd name="connsiteX118" fmla="*/ 225625 w 634308"/>
                <a:gd name="connsiteY118" fmla="*/ 284557 h 1430569"/>
                <a:gd name="connsiteX119" fmla="*/ 223375 w 634308"/>
                <a:gd name="connsiteY119" fmla="*/ 276459 h 1430569"/>
                <a:gd name="connsiteX120" fmla="*/ 217977 w 634308"/>
                <a:gd name="connsiteY120" fmla="*/ 267912 h 1430569"/>
                <a:gd name="connsiteX121" fmla="*/ 213478 w 634308"/>
                <a:gd name="connsiteY121" fmla="*/ 258465 h 1430569"/>
                <a:gd name="connsiteX122" fmla="*/ 207180 w 634308"/>
                <a:gd name="connsiteY122" fmla="*/ 246319 h 1430569"/>
                <a:gd name="connsiteX123" fmla="*/ 204481 w 634308"/>
                <a:gd name="connsiteY123" fmla="*/ 241820 h 1430569"/>
                <a:gd name="connsiteX124" fmla="*/ 207630 w 634308"/>
                <a:gd name="connsiteY124" fmla="*/ 227424 h 1430569"/>
                <a:gd name="connsiteX125" fmla="*/ 199982 w 634308"/>
                <a:gd name="connsiteY125" fmla="*/ 215728 h 1430569"/>
                <a:gd name="connsiteX126" fmla="*/ 200432 w 634308"/>
                <a:gd name="connsiteY126" fmla="*/ 214828 h 1430569"/>
                <a:gd name="connsiteX127" fmla="*/ 207630 w 634308"/>
                <a:gd name="connsiteY127" fmla="*/ 209430 h 1430569"/>
                <a:gd name="connsiteX128" fmla="*/ 214378 w 634308"/>
                <a:gd name="connsiteY128" fmla="*/ 214378 h 1430569"/>
                <a:gd name="connsiteX129" fmla="*/ 240470 w 634308"/>
                <a:gd name="connsiteY129" fmla="*/ 216627 h 1430569"/>
                <a:gd name="connsiteX130" fmla="*/ 246768 w 634308"/>
                <a:gd name="connsiteY130" fmla="*/ 203131 h 1430569"/>
                <a:gd name="connsiteX131" fmla="*/ 246768 w 634308"/>
                <a:gd name="connsiteY131" fmla="*/ 197733 h 1430569"/>
                <a:gd name="connsiteX132" fmla="*/ 255316 w 634308"/>
                <a:gd name="connsiteY132" fmla="*/ 191435 h 1430569"/>
                <a:gd name="connsiteX133" fmla="*/ 253516 w 634308"/>
                <a:gd name="connsiteY133" fmla="*/ 181538 h 1430569"/>
                <a:gd name="connsiteX134" fmla="*/ 258465 w 634308"/>
                <a:gd name="connsiteY134" fmla="*/ 181538 h 1430569"/>
                <a:gd name="connsiteX135" fmla="*/ 262963 w 634308"/>
                <a:gd name="connsiteY135" fmla="*/ 179738 h 1430569"/>
                <a:gd name="connsiteX136" fmla="*/ 265213 w 634308"/>
                <a:gd name="connsiteY136" fmla="*/ 168492 h 1430569"/>
                <a:gd name="connsiteX137" fmla="*/ 268812 w 634308"/>
                <a:gd name="connsiteY137" fmla="*/ 166243 h 1430569"/>
                <a:gd name="connsiteX138" fmla="*/ 280508 w 634308"/>
                <a:gd name="connsiteY138" fmla="*/ 167592 h 1430569"/>
                <a:gd name="connsiteX139" fmla="*/ 285007 w 634308"/>
                <a:gd name="connsiteY139" fmla="*/ 158145 h 1430569"/>
                <a:gd name="connsiteX140" fmla="*/ 278259 w 634308"/>
                <a:gd name="connsiteY140" fmla="*/ 141500 h 1430569"/>
                <a:gd name="connsiteX141" fmla="*/ 288606 w 634308"/>
                <a:gd name="connsiteY141" fmla="*/ 128004 h 1430569"/>
                <a:gd name="connsiteX142" fmla="*/ 289955 w 634308"/>
                <a:gd name="connsiteY142" fmla="*/ 121706 h 1430569"/>
                <a:gd name="connsiteX143" fmla="*/ 281408 w 634308"/>
                <a:gd name="connsiteY143" fmla="*/ 116757 h 1430569"/>
                <a:gd name="connsiteX144" fmla="*/ 283657 w 634308"/>
                <a:gd name="connsiteY144" fmla="*/ 88866 h 1430569"/>
                <a:gd name="connsiteX145" fmla="*/ 285907 w 634308"/>
                <a:gd name="connsiteY145" fmla="*/ 73571 h 1430569"/>
                <a:gd name="connsiteX146" fmla="*/ 294454 w 634308"/>
                <a:gd name="connsiteY146" fmla="*/ 70421 h 1430569"/>
                <a:gd name="connsiteX147" fmla="*/ 303451 w 634308"/>
                <a:gd name="connsiteY147" fmla="*/ 61424 h 1430569"/>
                <a:gd name="connsiteX148" fmla="*/ 298953 w 634308"/>
                <a:gd name="connsiteY148" fmla="*/ 64123 h 1430569"/>
                <a:gd name="connsiteX149" fmla="*/ 297153 w 634308"/>
                <a:gd name="connsiteY149" fmla="*/ 65023 h 1430569"/>
                <a:gd name="connsiteX150" fmla="*/ 298953 w 634308"/>
                <a:gd name="connsiteY150" fmla="*/ 64123 h 1430569"/>
                <a:gd name="connsiteX151" fmla="*/ 304801 w 634308"/>
                <a:gd name="connsiteY151" fmla="*/ 55126 h 1430569"/>
                <a:gd name="connsiteX152" fmla="*/ 293104 w 634308"/>
                <a:gd name="connsiteY152" fmla="*/ 54676 h 1430569"/>
                <a:gd name="connsiteX153" fmla="*/ 296703 w 634308"/>
                <a:gd name="connsiteY153" fmla="*/ 52877 h 1430569"/>
                <a:gd name="connsiteX154" fmla="*/ 293104 w 634308"/>
                <a:gd name="connsiteY154" fmla="*/ 49728 h 1430569"/>
                <a:gd name="connsiteX155" fmla="*/ 288606 w 634308"/>
                <a:gd name="connsiteY155" fmla="*/ 38481 h 1430569"/>
                <a:gd name="connsiteX156" fmla="*/ 280508 w 634308"/>
                <a:gd name="connsiteY156" fmla="*/ 31283 h 1430569"/>
                <a:gd name="connsiteX157" fmla="*/ 275110 w 634308"/>
                <a:gd name="connsiteY157" fmla="*/ 23186 h 1430569"/>
                <a:gd name="connsiteX158" fmla="*/ 260264 w 634308"/>
                <a:gd name="connsiteY158" fmla="*/ 18687 h 1430569"/>
                <a:gd name="connsiteX159" fmla="*/ 225625 w 634308"/>
                <a:gd name="connsiteY159" fmla="*/ 7440 h 1430569"/>
                <a:gd name="connsiteX160" fmla="*/ 214378 w 634308"/>
                <a:gd name="connsiteY160" fmla="*/ 5641 h 1430569"/>
                <a:gd name="connsiteX161" fmla="*/ 217077 w 634308"/>
                <a:gd name="connsiteY161" fmla="*/ 3392 h 1430569"/>
                <a:gd name="connsiteX162" fmla="*/ 210779 w 634308"/>
                <a:gd name="connsiteY162" fmla="*/ 3392 h 1430569"/>
                <a:gd name="connsiteX163" fmla="*/ 195934 w 634308"/>
                <a:gd name="connsiteY163" fmla="*/ 1592 h 1430569"/>
                <a:gd name="connsiteX164" fmla="*/ 183787 w 634308"/>
                <a:gd name="connsiteY164" fmla="*/ 3842 h 1430569"/>
                <a:gd name="connsiteX165" fmla="*/ 174340 w 634308"/>
                <a:gd name="connsiteY165" fmla="*/ 4741 h 1430569"/>
                <a:gd name="connsiteX166" fmla="*/ 169841 w 634308"/>
                <a:gd name="connsiteY166" fmla="*/ 4741 h 1430569"/>
                <a:gd name="connsiteX167" fmla="*/ 155446 w 634308"/>
                <a:gd name="connsiteY167" fmla="*/ 13289 h 1430569"/>
                <a:gd name="connsiteX168" fmla="*/ 144199 w 634308"/>
                <a:gd name="connsiteY168" fmla="*/ 24535 h 1430569"/>
                <a:gd name="connsiteX169" fmla="*/ 128904 w 634308"/>
                <a:gd name="connsiteY169" fmla="*/ 40730 h 1430569"/>
                <a:gd name="connsiteX170" fmla="*/ 109560 w 634308"/>
                <a:gd name="connsiteY170" fmla="*/ 74470 h 1430569"/>
                <a:gd name="connsiteX171" fmla="*/ 110909 w 634308"/>
                <a:gd name="connsiteY171" fmla="*/ 105961 h 1430569"/>
                <a:gd name="connsiteX172" fmla="*/ 117207 w 634308"/>
                <a:gd name="connsiteY172" fmla="*/ 153646 h 1430569"/>
                <a:gd name="connsiteX173" fmla="*/ 113159 w 634308"/>
                <a:gd name="connsiteY173" fmla="*/ 170291 h 1430569"/>
                <a:gd name="connsiteX174" fmla="*/ 91115 w 634308"/>
                <a:gd name="connsiteY174" fmla="*/ 173890 h 1430569"/>
                <a:gd name="connsiteX175" fmla="*/ 87516 w 634308"/>
                <a:gd name="connsiteY175" fmla="*/ 207180 h 1430569"/>
                <a:gd name="connsiteX176" fmla="*/ 62324 w 634308"/>
                <a:gd name="connsiteY176" fmla="*/ 232823 h 1430569"/>
                <a:gd name="connsiteX177" fmla="*/ 45679 w 634308"/>
                <a:gd name="connsiteY177" fmla="*/ 255766 h 1430569"/>
                <a:gd name="connsiteX178" fmla="*/ 26335 w 634308"/>
                <a:gd name="connsiteY178" fmla="*/ 282758 h 1430569"/>
                <a:gd name="connsiteX179" fmla="*/ 12839 w 634308"/>
                <a:gd name="connsiteY179" fmla="*/ 324145 h 1430569"/>
                <a:gd name="connsiteX180" fmla="*/ 9240 w 634308"/>
                <a:gd name="connsiteY180" fmla="*/ 355636 h 1430569"/>
                <a:gd name="connsiteX181" fmla="*/ 27684 w 634308"/>
                <a:gd name="connsiteY181" fmla="*/ 437061 h 1430569"/>
                <a:gd name="connsiteX182" fmla="*/ 50627 w 634308"/>
                <a:gd name="connsiteY182" fmla="*/ 507240 h 1430569"/>
                <a:gd name="connsiteX183" fmla="*/ 73120 w 634308"/>
                <a:gd name="connsiteY183" fmla="*/ 538281 h 1430569"/>
                <a:gd name="connsiteX184" fmla="*/ 87066 w 634308"/>
                <a:gd name="connsiteY184" fmla="*/ 558075 h 1430569"/>
                <a:gd name="connsiteX185" fmla="*/ 87516 w 634308"/>
                <a:gd name="connsiteY185" fmla="*/ 568422 h 1430569"/>
                <a:gd name="connsiteX186" fmla="*/ 85717 w 634308"/>
                <a:gd name="connsiteY186" fmla="*/ 584167 h 1430569"/>
                <a:gd name="connsiteX187" fmla="*/ 82118 w 634308"/>
                <a:gd name="connsiteY187" fmla="*/ 594064 h 1430569"/>
                <a:gd name="connsiteX188" fmla="*/ 80768 w 634308"/>
                <a:gd name="connsiteY188" fmla="*/ 595863 h 1430569"/>
                <a:gd name="connsiteX189" fmla="*/ 79419 w 634308"/>
                <a:gd name="connsiteY189" fmla="*/ 598563 h 1430569"/>
                <a:gd name="connsiteX190" fmla="*/ 74920 w 634308"/>
                <a:gd name="connsiteY190" fmla="*/ 608909 h 1430569"/>
                <a:gd name="connsiteX191" fmla="*/ 72671 w 634308"/>
                <a:gd name="connsiteY191" fmla="*/ 611159 h 1430569"/>
                <a:gd name="connsiteX192" fmla="*/ 69072 w 634308"/>
                <a:gd name="connsiteY192" fmla="*/ 615208 h 1430569"/>
                <a:gd name="connsiteX193" fmla="*/ 72671 w 634308"/>
                <a:gd name="connsiteY193" fmla="*/ 611608 h 1430569"/>
                <a:gd name="connsiteX194" fmla="*/ 69072 w 634308"/>
                <a:gd name="connsiteY194" fmla="*/ 615208 h 1430569"/>
                <a:gd name="connsiteX195" fmla="*/ 69072 w 634308"/>
                <a:gd name="connsiteY195" fmla="*/ 615208 h 1430569"/>
                <a:gd name="connsiteX196" fmla="*/ 68622 w 634308"/>
                <a:gd name="connsiteY196" fmla="*/ 615657 h 1430569"/>
                <a:gd name="connsiteX197" fmla="*/ 61874 w 634308"/>
                <a:gd name="connsiteY197" fmla="*/ 624205 h 1430569"/>
                <a:gd name="connsiteX198" fmla="*/ 60524 w 634308"/>
                <a:gd name="connsiteY198" fmla="*/ 629153 h 1430569"/>
                <a:gd name="connsiteX199" fmla="*/ 70871 w 634308"/>
                <a:gd name="connsiteY199" fmla="*/ 640850 h 1430569"/>
                <a:gd name="connsiteX200" fmla="*/ 72221 w 634308"/>
                <a:gd name="connsiteY200" fmla="*/ 640400 h 1430569"/>
                <a:gd name="connsiteX201" fmla="*/ 72221 w 634308"/>
                <a:gd name="connsiteY201" fmla="*/ 640400 h 1430569"/>
                <a:gd name="connsiteX202" fmla="*/ 69072 w 634308"/>
                <a:gd name="connsiteY202" fmla="*/ 649847 h 1430569"/>
                <a:gd name="connsiteX203" fmla="*/ 64573 w 634308"/>
                <a:gd name="connsiteY203" fmla="*/ 663343 h 1430569"/>
                <a:gd name="connsiteX204" fmla="*/ 56026 w 634308"/>
                <a:gd name="connsiteY204" fmla="*/ 683137 h 1430569"/>
                <a:gd name="connsiteX205" fmla="*/ 55576 w 634308"/>
                <a:gd name="connsiteY205" fmla="*/ 686736 h 1430569"/>
                <a:gd name="connsiteX206" fmla="*/ 54226 w 634308"/>
                <a:gd name="connsiteY206" fmla="*/ 700682 h 1430569"/>
                <a:gd name="connsiteX207" fmla="*/ 60974 w 634308"/>
                <a:gd name="connsiteY207" fmla="*/ 768161 h 1430569"/>
                <a:gd name="connsiteX208" fmla="*/ 67272 w 634308"/>
                <a:gd name="connsiteY208" fmla="*/ 789305 h 1430569"/>
                <a:gd name="connsiteX209" fmla="*/ 85717 w 634308"/>
                <a:gd name="connsiteY209" fmla="*/ 855885 h 1430569"/>
                <a:gd name="connsiteX210" fmla="*/ 89316 w 634308"/>
                <a:gd name="connsiteY210" fmla="*/ 892324 h 1430569"/>
                <a:gd name="connsiteX211" fmla="*/ 89316 w 634308"/>
                <a:gd name="connsiteY211" fmla="*/ 937310 h 1430569"/>
                <a:gd name="connsiteX212" fmla="*/ 81218 w 634308"/>
                <a:gd name="connsiteY212" fmla="*/ 956655 h 1430569"/>
                <a:gd name="connsiteX213" fmla="*/ 79868 w 634308"/>
                <a:gd name="connsiteY213" fmla="*/ 1006140 h 1430569"/>
                <a:gd name="connsiteX214" fmla="*/ 66373 w 634308"/>
                <a:gd name="connsiteY214" fmla="*/ 1025484 h 1430569"/>
                <a:gd name="connsiteX215" fmla="*/ 61424 w 634308"/>
                <a:gd name="connsiteY215" fmla="*/ 1052026 h 1430569"/>
                <a:gd name="connsiteX216" fmla="*/ 52877 w 634308"/>
                <a:gd name="connsiteY216" fmla="*/ 1069121 h 1430569"/>
                <a:gd name="connsiteX217" fmla="*/ 45679 w 634308"/>
                <a:gd name="connsiteY217" fmla="*/ 1107359 h 1430569"/>
                <a:gd name="connsiteX218" fmla="*/ 39381 w 634308"/>
                <a:gd name="connsiteY218" fmla="*/ 1150096 h 1430569"/>
                <a:gd name="connsiteX219" fmla="*/ 34882 w 634308"/>
                <a:gd name="connsiteY219" fmla="*/ 1181137 h 1430569"/>
                <a:gd name="connsiteX220" fmla="*/ 16438 w 634308"/>
                <a:gd name="connsiteY220" fmla="*/ 1281907 h 1430569"/>
                <a:gd name="connsiteX221" fmla="*/ 8340 w 634308"/>
                <a:gd name="connsiteY221" fmla="*/ 1348487 h 1430569"/>
                <a:gd name="connsiteX222" fmla="*/ 7890 w 634308"/>
                <a:gd name="connsiteY222" fmla="*/ 1371430 h 1430569"/>
                <a:gd name="connsiteX223" fmla="*/ 7440 w 634308"/>
                <a:gd name="connsiteY223" fmla="*/ 1390774 h 1430569"/>
                <a:gd name="connsiteX224" fmla="*/ 6091 w 634308"/>
                <a:gd name="connsiteY224" fmla="*/ 1397072 h 1430569"/>
                <a:gd name="connsiteX225" fmla="*/ 409619 w 634308"/>
                <a:gd name="connsiteY225" fmla="*/ 459554 h 1430569"/>
                <a:gd name="connsiteX226" fmla="*/ 409619 w 634308"/>
                <a:gd name="connsiteY226" fmla="*/ 459554 h 1430569"/>
                <a:gd name="connsiteX227" fmla="*/ 409619 w 634308"/>
                <a:gd name="connsiteY227" fmla="*/ 459554 h 1430569"/>
                <a:gd name="connsiteX228" fmla="*/ 409619 w 634308"/>
                <a:gd name="connsiteY228" fmla="*/ 459554 h 1430569"/>
                <a:gd name="connsiteX229" fmla="*/ 275110 w 634308"/>
                <a:gd name="connsiteY229" fmla="*/ 122156 h 1430569"/>
                <a:gd name="connsiteX230" fmla="*/ 285457 w 634308"/>
                <a:gd name="connsiteY230" fmla="*/ 124405 h 1430569"/>
                <a:gd name="connsiteX231" fmla="*/ 283657 w 634308"/>
                <a:gd name="connsiteY231" fmla="*/ 126205 h 1430569"/>
                <a:gd name="connsiteX232" fmla="*/ 274210 w 634308"/>
                <a:gd name="connsiteY232" fmla="*/ 133402 h 1430569"/>
                <a:gd name="connsiteX233" fmla="*/ 275110 w 634308"/>
                <a:gd name="connsiteY233" fmla="*/ 122156 h 1430569"/>
                <a:gd name="connsiteX234" fmla="*/ 130253 w 634308"/>
                <a:gd name="connsiteY234" fmla="*/ 1267061 h 1430569"/>
                <a:gd name="connsiteX235" fmla="*/ 136102 w 634308"/>
                <a:gd name="connsiteY235" fmla="*/ 1285955 h 1430569"/>
                <a:gd name="connsiteX236" fmla="*/ 143300 w 634308"/>
                <a:gd name="connsiteY236" fmla="*/ 1312048 h 1430569"/>
                <a:gd name="connsiteX237" fmla="*/ 130253 w 634308"/>
                <a:gd name="connsiteY237" fmla="*/ 1331392 h 1430569"/>
                <a:gd name="connsiteX238" fmla="*/ 130253 w 634308"/>
                <a:gd name="connsiteY238" fmla="*/ 1278758 h 1430569"/>
                <a:gd name="connsiteX239" fmla="*/ 129354 w 634308"/>
                <a:gd name="connsiteY239" fmla="*/ 1264812 h 1430569"/>
                <a:gd name="connsiteX240" fmla="*/ 130253 w 634308"/>
                <a:gd name="connsiteY240" fmla="*/ 1267061 h 1430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</a:cxnLst>
              <a:rect l="l" t="t" r="r" b="b"/>
              <a:pathLst>
                <a:path w="634308" h="1430569">
                  <a:moveTo>
                    <a:pt x="6091" y="1397072"/>
                  </a:moveTo>
                  <a:cubicBezTo>
                    <a:pt x="3391" y="1398422"/>
                    <a:pt x="1592" y="1419115"/>
                    <a:pt x="1592" y="1419115"/>
                  </a:cubicBezTo>
                  <a:cubicBezTo>
                    <a:pt x="45229" y="1431262"/>
                    <a:pt x="83468" y="1426763"/>
                    <a:pt x="84367" y="1425863"/>
                  </a:cubicBezTo>
                  <a:cubicBezTo>
                    <a:pt x="85267" y="1424964"/>
                    <a:pt x="87966" y="1414617"/>
                    <a:pt x="87966" y="1414617"/>
                  </a:cubicBezTo>
                  <a:cubicBezTo>
                    <a:pt x="105511" y="1421365"/>
                    <a:pt x="133852" y="1423164"/>
                    <a:pt x="133852" y="1423164"/>
                  </a:cubicBezTo>
                  <a:cubicBezTo>
                    <a:pt x="133402" y="1425863"/>
                    <a:pt x="133852" y="1426313"/>
                    <a:pt x="133852" y="1426313"/>
                  </a:cubicBezTo>
                  <a:cubicBezTo>
                    <a:pt x="139701" y="1429912"/>
                    <a:pt x="163543" y="1431262"/>
                    <a:pt x="163543" y="1431262"/>
                  </a:cubicBezTo>
                  <a:lnTo>
                    <a:pt x="187836" y="1426763"/>
                  </a:lnTo>
                  <a:cubicBezTo>
                    <a:pt x="190985" y="1429462"/>
                    <a:pt x="195034" y="1429462"/>
                    <a:pt x="202682" y="1429912"/>
                  </a:cubicBezTo>
                  <a:cubicBezTo>
                    <a:pt x="209879" y="1430362"/>
                    <a:pt x="306600" y="1429912"/>
                    <a:pt x="315598" y="1429912"/>
                  </a:cubicBezTo>
                  <a:cubicBezTo>
                    <a:pt x="324595" y="1429912"/>
                    <a:pt x="334942" y="1427213"/>
                    <a:pt x="338541" y="1424964"/>
                  </a:cubicBezTo>
                  <a:cubicBezTo>
                    <a:pt x="342140" y="1422714"/>
                    <a:pt x="342140" y="1421815"/>
                    <a:pt x="342140" y="1421815"/>
                  </a:cubicBezTo>
                  <a:cubicBezTo>
                    <a:pt x="342140" y="1421815"/>
                    <a:pt x="341240" y="1414617"/>
                    <a:pt x="339890" y="1411918"/>
                  </a:cubicBezTo>
                  <a:cubicBezTo>
                    <a:pt x="338541" y="1409218"/>
                    <a:pt x="337641" y="1407419"/>
                    <a:pt x="333592" y="1405619"/>
                  </a:cubicBezTo>
                  <a:cubicBezTo>
                    <a:pt x="333142" y="1403370"/>
                    <a:pt x="331343" y="1400671"/>
                    <a:pt x="328194" y="1398422"/>
                  </a:cubicBezTo>
                  <a:cubicBezTo>
                    <a:pt x="320996" y="1393473"/>
                    <a:pt x="302102" y="1391674"/>
                    <a:pt x="295354" y="1389874"/>
                  </a:cubicBezTo>
                  <a:cubicBezTo>
                    <a:pt x="288606" y="1387625"/>
                    <a:pt x="283207" y="1383126"/>
                    <a:pt x="278259" y="1378178"/>
                  </a:cubicBezTo>
                  <a:cubicBezTo>
                    <a:pt x="272860" y="1373229"/>
                    <a:pt x="268812" y="1371430"/>
                    <a:pt x="263413" y="1364682"/>
                  </a:cubicBezTo>
                  <a:cubicBezTo>
                    <a:pt x="258015" y="1357484"/>
                    <a:pt x="252167" y="1348937"/>
                    <a:pt x="251267" y="1344438"/>
                  </a:cubicBezTo>
                  <a:cubicBezTo>
                    <a:pt x="249917" y="1339489"/>
                    <a:pt x="252167" y="1325994"/>
                    <a:pt x="254416" y="1320145"/>
                  </a:cubicBezTo>
                  <a:cubicBezTo>
                    <a:pt x="256665" y="1314747"/>
                    <a:pt x="257565" y="1309348"/>
                    <a:pt x="254866" y="1305750"/>
                  </a:cubicBezTo>
                  <a:cubicBezTo>
                    <a:pt x="252617" y="1302151"/>
                    <a:pt x="246318" y="1301251"/>
                    <a:pt x="244519" y="1297652"/>
                  </a:cubicBezTo>
                  <a:cubicBezTo>
                    <a:pt x="242270" y="1294053"/>
                    <a:pt x="247668" y="1282806"/>
                    <a:pt x="249917" y="1277858"/>
                  </a:cubicBezTo>
                  <a:cubicBezTo>
                    <a:pt x="252167" y="1272909"/>
                    <a:pt x="247668" y="1267961"/>
                    <a:pt x="244969" y="1261663"/>
                  </a:cubicBezTo>
                  <a:cubicBezTo>
                    <a:pt x="242270" y="1255815"/>
                    <a:pt x="236871" y="1218926"/>
                    <a:pt x="233272" y="1201381"/>
                  </a:cubicBezTo>
                  <a:cubicBezTo>
                    <a:pt x="229674" y="1183836"/>
                    <a:pt x="224725" y="1159993"/>
                    <a:pt x="223375" y="1155495"/>
                  </a:cubicBezTo>
                  <a:cubicBezTo>
                    <a:pt x="222026" y="1150996"/>
                    <a:pt x="228324" y="1145148"/>
                    <a:pt x="230573" y="1133451"/>
                  </a:cubicBezTo>
                  <a:cubicBezTo>
                    <a:pt x="233272" y="1121305"/>
                    <a:pt x="236422" y="1094763"/>
                    <a:pt x="240020" y="1065072"/>
                  </a:cubicBezTo>
                  <a:cubicBezTo>
                    <a:pt x="243170" y="1034931"/>
                    <a:pt x="249018" y="968801"/>
                    <a:pt x="249917" y="950806"/>
                  </a:cubicBezTo>
                  <a:cubicBezTo>
                    <a:pt x="250817" y="933262"/>
                    <a:pt x="256215" y="898172"/>
                    <a:pt x="260264" y="884226"/>
                  </a:cubicBezTo>
                  <a:cubicBezTo>
                    <a:pt x="264313" y="869831"/>
                    <a:pt x="266112" y="861733"/>
                    <a:pt x="265213" y="854535"/>
                  </a:cubicBezTo>
                  <a:cubicBezTo>
                    <a:pt x="264313" y="847338"/>
                    <a:pt x="262064" y="836991"/>
                    <a:pt x="260714" y="821245"/>
                  </a:cubicBezTo>
                  <a:cubicBezTo>
                    <a:pt x="259814" y="805500"/>
                    <a:pt x="263413" y="795603"/>
                    <a:pt x="265213" y="789755"/>
                  </a:cubicBezTo>
                  <a:cubicBezTo>
                    <a:pt x="266562" y="783907"/>
                    <a:pt x="268362" y="775809"/>
                    <a:pt x="268812" y="768161"/>
                  </a:cubicBezTo>
                  <a:cubicBezTo>
                    <a:pt x="269262" y="760514"/>
                    <a:pt x="271511" y="750617"/>
                    <a:pt x="274210" y="740270"/>
                  </a:cubicBezTo>
                  <a:cubicBezTo>
                    <a:pt x="276909" y="729923"/>
                    <a:pt x="277359" y="713728"/>
                    <a:pt x="276010" y="698882"/>
                  </a:cubicBezTo>
                  <a:cubicBezTo>
                    <a:pt x="274660" y="684037"/>
                    <a:pt x="271061" y="659744"/>
                    <a:pt x="271061" y="652096"/>
                  </a:cubicBezTo>
                  <a:cubicBezTo>
                    <a:pt x="271061" y="644449"/>
                    <a:pt x="264763" y="634102"/>
                    <a:pt x="266562" y="634102"/>
                  </a:cubicBezTo>
                  <a:cubicBezTo>
                    <a:pt x="268812" y="634102"/>
                    <a:pt x="278259" y="635901"/>
                    <a:pt x="278259" y="631852"/>
                  </a:cubicBezTo>
                  <a:cubicBezTo>
                    <a:pt x="278259" y="627804"/>
                    <a:pt x="279608" y="620156"/>
                    <a:pt x="281858" y="589115"/>
                  </a:cubicBezTo>
                  <a:cubicBezTo>
                    <a:pt x="284107" y="558974"/>
                    <a:pt x="283207" y="538731"/>
                    <a:pt x="283207" y="536031"/>
                  </a:cubicBezTo>
                  <a:cubicBezTo>
                    <a:pt x="283207" y="532432"/>
                    <a:pt x="280958" y="507240"/>
                    <a:pt x="282758" y="487896"/>
                  </a:cubicBezTo>
                  <a:cubicBezTo>
                    <a:pt x="283657" y="477099"/>
                    <a:pt x="281408" y="464503"/>
                    <a:pt x="279159" y="455955"/>
                  </a:cubicBezTo>
                  <a:cubicBezTo>
                    <a:pt x="290405" y="460004"/>
                    <a:pt x="301202" y="461804"/>
                    <a:pt x="305251" y="462703"/>
                  </a:cubicBezTo>
                  <a:cubicBezTo>
                    <a:pt x="312448" y="464503"/>
                    <a:pt x="318297" y="464503"/>
                    <a:pt x="326844" y="466752"/>
                  </a:cubicBezTo>
                  <a:cubicBezTo>
                    <a:pt x="335392" y="468552"/>
                    <a:pt x="334042" y="466752"/>
                    <a:pt x="336291" y="470801"/>
                  </a:cubicBezTo>
                  <a:cubicBezTo>
                    <a:pt x="338091" y="474850"/>
                    <a:pt x="351587" y="481148"/>
                    <a:pt x="358335" y="484747"/>
                  </a:cubicBezTo>
                  <a:cubicBezTo>
                    <a:pt x="365532" y="488795"/>
                    <a:pt x="374980" y="487896"/>
                    <a:pt x="381728" y="486546"/>
                  </a:cubicBezTo>
                  <a:cubicBezTo>
                    <a:pt x="388476" y="484747"/>
                    <a:pt x="394774" y="475750"/>
                    <a:pt x="398373" y="468552"/>
                  </a:cubicBezTo>
                  <a:cubicBezTo>
                    <a:pt x="401072" y="463153"/>
                    <a:pt x="402871" y="463603"/>
                    <a:pt x="409619" y="459104"/>
                  </a:cubicBezTo>
                  <a:cubicBezTo>
                    <a:pt x="409619" y="459104"/>
                    <a:pt x="410069" y="459104"/>
                    <a:pt x="410519" y="458654"/>
                  </a:cubicBezTo>
                  <a:cubicBezTo>
                    <a:pt x="422216" y="455506"/>
                    <a:pt x="439310" y="450557"/>
                    <a:pt x="451906" y="446058"/>
                  </a:cubicBezTo>
                  <a:cubicBezTo>
                    <a:pt x="459554" y="443359"/>
                    <a:pt x="471701" y="439310"/>
                    <a:pt x="483847" y="435262"/>
                  </a:cubicBezTo>
                  <a:cubicBezTo>
                    <a:pt x="500042" y="429863"/>
                    <a:pt x="513088" y="425814"/>
                    <a:pt x="514438" y="425365"/>
                  </a:cubicBezTo>
                  <a:cubicBezTo>
                    <a:pt x="519386" y="424015"/>
                    <a:pt x="519386" y="423565"/>
                    <a:pt x="523435" y="424465"/>
                  </a:cubicBezTo>
                  <a:cubicBezTo>
                    <a:pt x="523885" y="424465"/>
                    <a:pt x="524335" y="424915"/>
                    <a:pt x="524785" y="424915"/>
                  </a:cubicBezTo>
                  <a:cubicBezTo>
                    <a:pt x="525684" y="425365"/>
                    <a:pt x="526134" y="425814"/>
                    <a:pt x="527034" y="426264"/>
                  </a:cubicBezTo>
                  <a:cubicBezTo>
                    <a:pt x="530183" y="428514"/>
                    <a:pt x="533782" y="431663"/>
                    <a:pt x="538281" y="435262"/>
                  </a:cubicBezTo>
                  <a:cubicBezTo>
                    <a:pt x="549077" y="443359"/>
                    <a:pt x="554926" y="443359"/>
                    <a:pt x="558524" y="443809"/>
                  </a:cubicBezTo>
                  <a:cubicBezTo>
                    <a:pt x="562123" y="444259"/>
                    <a:pt x="570671" y="447408"/>
                    <a:pt x="574719" y="449657"/>
                  </a:cubicBezTo>
                  <a:cubicBezTo>
                    <a:pt x="577419" y="451457"/>
                    <a:pt x="587316" y="457305"/>
                    <a:pt x="594064" y="461804"/>
                  </a:cubicBezTo>
                  <a:cubicBezTo>
                    <a:pt x="594963" y="462703"/>
                    <a:pt x="596313" y="463153"/>
                    <a:pt x="597213" y="463603"/>
                  </a:cubicBezTo>
                  <a:cubicBezTo>
                    <a:pt x="598112" y="464053"/>
                    <a:pt x="599462" y="464953"/>
                    <a:pt x="600362" y="465402"/>
                  </a:cubicBezTo>
                  <a:cubicBezTo>
                    <a:pt x="600812" y="465852"/>
                    <a:pt x="601262" y="465852"/>
                    <a:pt x="601262" y="465852"/>
                  </a:cubicBezTo>
                  <a:cubicBezTo>
                    <a:pt x="604411" y="467202"/>
                    <a:pt x="608909" y="470351"/>
                    <a:pt x="612508" y="468552"/>
                  </a:cubicBezTo>
                  <a:cubicBezTo>
                    <a:pt x="612958" y="468552"/>
                    <a:pt x="613408" y="468102"/>
                    <a:pt x="613408" y="467652"/>
                  </a:cubicBezTo>
                  <a:cubicBezTo>
                    <a:pt x="614308" y="466752"/>
                    <a:pt x="614308" y="465402"/>
                    <a:pt x="613858" y="464053"/>
                  </a:cubicBezTo>
                  <a:cubicBezTo>
                    <a:pt x="612958" y="460904"/>
                    <a:pt x="610709" y="456855"/>
                    <a:pt x="606660" y="453706"/>
                  </a:cubicBezTo>
                  <a:cubicBezTo>
                    <a:pt x="605310" y="452357"/>
                    <a:pt x="603961" y="451906"/>
                    <a:pt x="603061" y="451007"/>
                  </a:cubicBezTo>
                  <a:cubicBezTo>
                    <a:pt x="602161" y="450557"/>
                    <a:pt x="601711" y="450107"/>
                    <a:pt x="601262" y="450107"/>
                  </a:cubicBezTo>
                  <a:cubicBezTo>
                    <a:pt x="599462" y="449207"/>
                    <a:pt x="594064" y="445609"/>
                    <a:pt x="590015" y="441560"/>
                  </a:cubicBezTo>
                  <a:cubicBezTo>
                    <a:pt x="585966" y="437511"/>
                    <a:pt x="587316" y="433912"/>
                    <a:pt x="588665" y="431213"/>
                  </a:cubicBezTo>
                  <a:cubicBezTo>
                    <a:pt x="589565" y="429413"/>
                    <a:pt x="591365" y="428964"/>
                    <a:pt x="593614" y="428964"/>
                  </a:cubicBezTo>
                  <a:cubicBezTo>
                    <a:pt x="594514" y="428964"/>
                    <a:pt x="594963" y="429413"/>
                    <a:pt x="595863" y="429413"/>
                  </a:cubicBezTo>
                  <a:cubicBezTo>
                    <a:pt x="596313" y="429413"/>
                    <a:pt x="596313" y="429863"/>
                    <a:pt x="596763" y="429863"/>
                  </a:cubicBezTo>
                  <a:cubicBezTo>
                    <a:pt x="596763" y="429863"/>
                    <a:pt x="597213" y="429863"/>
                    <a:pt x="597213" y="430313"/>
                  </a:cubicBezTo>
                  <a:cubicBezTo>
                    <a:pt x="599012" y="431663"/>
                    <a:pt x="599912" y="432113"/>
                    <a:pt x="601711" y="433462"/>
                  </a:cubicBezTo>
                  <a:cubicBezTo>
                    <a:pt x="603061" y="434362"/>
                    <a:pt x="603961" y="435262"/>
                    <a:pt x="604860" y="436161"/>
                  </a:cubicBezTo>
                  <a:cubicBezTo>
                    <a:pt x="606660" y="438411"/>
                    <a:pt x="612508" y="446058"/>
                    <a:pt x="614308" y="448758"/>
                  </a:cubicBezTo>
                  <a:cubicBezTo>
                    <a:pt x="616107" y="451457"/>
                    <a:pt x="616557" y="454156"/>
                    <a:pt x="616557" y="456855"/>
                  </a:cubicBezTo>
                  <a:cubicBezTo>
                    <a:pt x="616557" y="459554"/>
                    <a:pt x="616107" y="462703"/>
                    <a:pt x="617457" y="468552"/>
                  </a:cubicBezTo>
                  <a:cubicBezTo>
                    <a:pt x="617457" y="469451"/>
                    <a:pt x="617907" y="470351"/>
                    <a:pt x="618356" y="471701"/>
                  </a:cubicBezTo>
                  <a:cubicBezTo>
                    <a:pt x="619256" y="474850"/>
                    <a:pt x="620606" y="476199"/>
                    <a:pt x="621955" y="476649"/>
                  </a:cubicBezTo>
                  <a:cubicBezTo>
                    <a:pt x="622405" y="477099"/>
                    <a:pt x="623305" y="477099"/>
                    <a:pt x="624205" y="476649"/>
                  </a:cubicBezTo>
                  <a:cubicBezTo>
                    <a:pt x="624205" y="476649"/>
                    <a:pt x="624655" y="476649"/>
                    <a:pt x="624655" y="476199"/>
                  </a:cubicBezTo>
                  <a:cubicBezTo>
                    <a:pt x="625104" y="476199"/>
                    <a:pt x="625554" y="475750"/>
                    <a:pt x="626004" y="475750"/>
                  </a:cubicBezTo>
                  <a:cubicBezTo>
                    <a:pt x="628253" y="474400"/>
                    <a:pt x="627804" y="469002"/>
                    <a:pt x="628253" y="465852"/>
                  </a:cubicBezTo>
                  <a:cubicBezTo>
                    <a:pt x="628703" y="466302"/>
                    <a:pt x="629153" y="466302"/>
                    <a:pt x="629603" y="466302"/>
                  </a:cubicBezTo>
                  <a:cubicBezTo>
                    <a:pt x="631403" y="467652"/>
                    <a:pt x="633202" y="466752"/>
                    <a:pt x="632752" y="464953"/>
                  </a:cubicBezTo>
                  <a:cubicBezTo>
                    <a:pt x="632752" y="464503"/>
                    <a:pt x="632752" y="464053"/>
                    <a:pt x="632752" y="463603"/>
                  </a:cubicBezTo>
                  <a:cubicBezTo>
                    <a:pt x="632752" y="461804"/>
                    <a:pt x="633202" y="459554"/>
                    <a:pt x="633202" y="456855"/>
                  </a:cubicBezTo>
                  <a:cubicBezTo>
                    <a:pt x="633202" y="454156"/>
                    <a:pt x="635001" y="447408"/>
                    <a:pt x="631852" y="441110"/>
                  </a:cubicBezTo>
                  <a:cubicBezTo>
                    <a:pt x="628703" y="435262"/>
                    <a:pt x="619706" y="423115"/>
                    <a:pt x="614758" y="415917"/>
                  </a:cubicBezTo>
                  <a:cubicBezTo>
                    <a:pt x="610709" y="409619"/>
                    <a:pt x="608459" y="407370"/>
                    <a:pt x="606660" y="406021"/>
                  </a:cubicBezTo>
                  <a:cubicBezTo>
                    <a:pt x="606660" y="406021"/>
                    <a:pt x="606660" y="406021"/>
                    <a:pt x="606660" y="406021"/>
                  </a:cubicBezTo>
                  <a:cubicBezTo>
                    <a:pt x="605760" y="405571"/>
                    <a:pt x="605310" y="405121"/>
                    <a:pt x="604411" y="404671"/>
                  </a:cubicBezTo>
                  <a:cubicBezTo>
                    <a:pt x="602611" y="403771"/>
                    <a:pt x="601711" y="403771"/>
                    <a:pt x="600362" y="401972"/>
                  </a:cubicBezTo>
                  <a:cubicBezTo>
                    <a:pt x="600362" y="401972"/>
                    <a:pt x="599912" y="401522"/>
                    <a:pt x="599912" y="401522"/>
                  </a:cubicBezTo>
                  <a:cubicBezTo>
                    <a:pt x="598112" y="399722"/>
                    <a:pt x="595413" y="397473"/>
                    <a:pt x="593164" y="397473"/>
                  </a:cubicBezTo>
                  <a:cubicBezTo>
                    <a:pt x="592714" y="397473"/>
                    <a:pt x="592264" y="397473"/>
                    <a:pt x="591365" y="397473"/>
                  </a:cubicBezTo>
                  <a:cubicBezTo>
                    <a:pt x="587316" y="397023"/>
                    <a:pt x="579218" y="396123"/>
                    <a:pt x="573370" y="395224"/>
                  </a:cubicBezTo>
                  <a:cubicBezTo>
                    <a:pt x="572920" y="395224"/>
                    <a:pt x="572470" y="395224"/>
                    <a:pt x="571571" y="394774"/>
                  </a:cubicBezTo>
                  <a:cubicBezTo>
                    <a:pt x="564373" y="393424"/>
                    <a:pt x="557175" y="392525"/>
                    <a:pt x="552676" y="391625"/>
                  </a:cubicBezTo>
                  <a:cubicBezTo>
                    <a:pt x="551776" y="391625"/>
                    <a:pt x="550877" y="391175"/>
                    <a:pt x="549977" y="391175"/>
                  </a:cubicBezTo>
                  <a:cubicBezTo>
                    <a:pt x="540080" y="389375"/>
                    <a:pt x="530633" y="388026"/>
                    <a:pt x="528383" y="387126"/>
                  </a:cubicBezTo>
                  <a:cubicBezTo>
                    <a:pt x="524335" y="385777"/>
                    <a:pt x="515787" y="385777"/>
                    <a:pt x="507240" y="386226"/>
                  </a:cubicBezTo>
                  <a:cubicBezTo>
                    <a:pt x="499142" y="386676"/>
                    <a:pt x="446958" y="388476"/>
                    <a:pt x="446958" y="389825"/>
                  </a:cubicBezTo>
                  <a:lnTo>
                    <a:pt x="446958" y="389825"/>
                  </a:lnTo>
                  <a:cubicBezTo>
                    <a:pt x="443809" y="388476"/>
                    <a:pt x="421766" y="378129"/>
                    <a:pt x="397923" y="373630"/>
                  </a:cubicBezTo>
                  <a:cubicBezTo>
                    <a:pt x="379478" y="370031"/>
                    <a:pt x="378129" y="377229"/>
                    <a:pt x="375880" y="379029"/>
                  </a:cubicBezTo>
                  <a:cubicBezTo>
                    <a:pt x="374080" y="380828"/>
                    <a:pt x="373180" y="379478"/>
                    <a:pt x="365083" y="376329"/>
                  </a:cubicBezTo>
                  <a:cubicBezTo>
                    <a:pt x="356535" y="373180"/>
                    <a:pt x="352487" y="373180"/>
                    <a:pt x="343489" y="371381"/>
                  </a:cubicBezTo>
                  <a:cubicBezTo>
                    <a:pt x="336741" y="370031"/>
                    <a:pt x="324145" y="368682"/>
                    <a:pt x="317397" y="365083"/>
                  </a:cubicBezTo>
                  <a:cubicBezTo>
                    <a:pt x="315148" y="363283"/>
                    <a:pt x="313348" y="361484"/>
                    <a:pt x="313348" y="361484"/>
                  </a:cubicBezTo>
                  <a:cubicBezTo>
                    <a:pt x="308850" y="355186"/>
                    <a:pt x="307050" y="351137"/>
                    <a:pt x="301652" y="350687"/>
                  </a:cubicBezTo>
                  <a:cubicBezTo>
                    <a:pt x="300752" y="350687"/>
                    <a:pt x="299403" y="350687"/>
                    <a:pt x="298503" y="350687"/>
                  </a:cubicBezTo>
                  <a:cubicBezTo>
                    <a:pt x="292205" y="350237"/>
                    <a:pt x="288156" y="345289"/>
                    <a:pt x="282308" y="334942"/>
                  </a:cubicBezTo>
                  <a:cubicBezTo>
                    <a:pt x="275560" y="324145"/>
                    <a:pt x="252617" y="312899"/>
                    <a:pt x="238221" y="298503"/>
                  </a:cubicBezTo>
                  <a:cubicBezTo>
                    <a:pt x="232373" y="292655"/>
                    <a:pt x="228324" y="288156"/>
                    <a:pt x="225625" y="284557"/>
                  </a:cubicBezTo>
                  <a:cubicBezTo>
                    <a:pt x="226074" y="282308"/>
                    <a:pt x="224725" y="279159"/>
                    <a:pt x="223375" y="276459"/>
                  </a:cubicBezTo>
                  <a:cubicBezTo>
                    <a:pt x="222026" y="273760"/>
                    <a:pt x="218427" y="270611"/>
                    <a:pt x="217977" y="267912"/>
                  </a:cubicBezTo>
                  <a:cubicBezTo>
                    <a:pt x="217077" y="265213"/>
                    <a:pt x="215278" y="262514"/>
                    <a:pt x="213478" y="258465"/>
                  </a:cubicBezTo>
                  <a:cubicBezTo>
                    <a:pt x="211679" y="254866"/>
                    <a:pt x="209430" y="250367"/>
                    <a:pt x="207180" y="246319"/>
                  </a:cubicBezTo>
                  <a:cubicBezTo>
                    <a:pt x="205831" y="244069"/>
                    <a:pt x="204931" y="242270"/>
                    <a:pt x="204481" y="241820"/>
                  </a:cubicBezTo>
                  <a:cubicBezTo>
                    <a:pt x="204931" y="236422"/>
                    <a:pt x="205831" y="230573"/>
                    <a:pt x="207630" y="227424"/>
                  </a:cubicBezTo>
                  <a:cubicBezTo>
                    <a:pt x="207630" y="227424"/>
                    <a:pt x="205381" y="222476"/>
                    <a:pt x="199982" y="215728"/>
                  </a:cubicBezTo>
                  <a:cubicBezTo>
                    <a:pt x="199982" y="215278"/>
                    <a:pt x="200432" y="214828"/>
                    <a:pt x="200432" y="214828"/>
                  </a:cubicBezTo>
                  <a:cubicBezTo>
                    <a:pt x="201332" y="212129"/>
                    <a:pt x="205831" y="209430"/>
                    <a:pt x="207630" y="209430"/>
                  </a:cubicBezTo>
                  <a:cubicBezTo>
                    <a:pt x="209879" y="209430"/>
                    <a:pt x="210779" y="211679"/>
                    <a:pt x="214378" y="214378"/>
                  </a:cubicBezTo>
                  <a:cubicBezTo>
                    <a:pt x="217977" y="217077"/>
                    <a:pt x="231923" y="219327"/>
                    <a:pt x="240470" y="216627"/>
                  </a:cubicBezTo>
                  <a:cubicBezTo>
                    <a:pt x="249018" y="214378"/>
                    <a:pt x="247218" y="204481"/>
                    <a:pt x="246768" y="203131"/>
                  </a:cubicBezTo>
                  <a:cubicBezTo>
                    <a:pt x="246318" y="201782"/>
                    <a:pt x="245419" y="199982"/>
                    <a:pt x="246768" y="197733"/>
                  </a:cubicBezTo>
                  <a:cubicBezTo>
                    <a:pt x="248118" y="195484"/>
                    <a:pt x="253966" y="192335"/>
                    <a:pt x="255316" y="191435"/>
                  </a:cubicBezTo>
                  <a:cubicBezTo>
                    <a:pt x="256665" y="190985"/>
                    <a:pt x="253516" y="183338"/>
                    <a:pt x="253516" y="181538"/>
                  </a:cubicBezTo>
                  <a:cubicBezTo>
                    <a:pt x="253516" y="179738"/>
                    <a:pt x="257565" y="181088"/>
                    <a:pt x="258465" y="181538"/>
                  </a:cubicBezTo>
                  <a:cubicBezTo>
                    <a:pt x="259365" y="181988"/>
                    <a:pt x="261164" y="181988"/>
                    <a:pt x="262963" y="179738"/>
                  </a:cubicBezTo>
                  <a:cubicBezTo>
                    <a:pt x="264313" y="177489"/>
                    <a:pt x="265213" y="170291"/>
                    <a:pt x="265213" y="168492"/>
                  </a:cubicBezTo>
                  <a:cubicBezTo>
                    <a:pt x="265213" y="166693"/>
                    <a:pt x="267012" y="165793"/>
                    <a:pt x="268812" y="166243"/>
                  </a:cubicBezTo>
                  <a:cubicBezTo>
                    <a:pt x="271061" y="166693"/>
                    <a:pt x="276010" y="168042"/>
                    <a:pt x="280508" y="167592"/>
                  </a:cubicBezTo>
                  <a:cubicBezTo>
                    <a:pt x="285457" y="167142"/>
                    <a:pt x="285457" y="160394"/>
                    <a:pt x="285007" y="158145"/>
                  </a:cubicBezTo>
                  <a:cubicBezTo>
                    <a:pt x="284557" y="155896"/>
                    <a:pt x="280508" y="148248"/>
                    <a:pt x="278259" y="141500"/>
                  </a:cubicBezTo>
                  <a:cubicBezTo>
                    <a:pt x="281408" y="139251"/>
                    <a:pt x="287706" y="129354"/>
                    <a:pt x="288606" y="128004"/>
                  </a:cubicBezTo>
                  <a:cubicBezTo>
                    <a:pt x="289506" y="126205"/>
                    <a:pt x="291305" y="123505"/>
                    <a:pt x="289955" y="121706"/>
                  </a:cubicBezTo>
                  <a:cubicBezTo>
                    <a:pt x="288606" y="119907"/>
                    <a:pt x="281408" y="116757"/>
                    <a:pt x="281408" y="116757"/>
                  </a:cubicBezTo>
                  <a:cubicBezTo>
                    <a:pt x="283657" y="114958"/>
                    <a:pt x="284107" y="98313"/>
                    <a:pt x="283657" y="88866"/>
                  </a:cubicBezTo>
                  <a:cubicBezTo>
                    <a:pt x="283657" y="79419"/>
                    <a:pt x="285007" y="75370"/>
                    <a:pt x="285907" y="73571"/>
                  </a:cubicBezTo>
                  <a:cubicBezTo>
                    <a:pt x="286806" y="71321"/>
                    <a:pt x="287706" y="72221"/>
                    <a:pt x="294454" y="70421"/>
                  </a:cubicBezTo>
                  <a:cubicBezTo>
                    <a:pt x="301652" y="68622"/>
                    <a:pt x="303451" y="62324"/>
                    <a:pt x="303451" y="61424"/>
                  </a:cubicBezTo>
                  <a:cubicBezTo>
                    <a:pt x="301202" y="62774"/>
                    <a:pt x="299852" y="63673"/>
                    <a:pt x="298953" y="64123"/>
                  </a:cubicBezTo>
                  <a:cubicBezTo>
                    <a:pt x="298503" y="64573"/>
                    <a:pt x="298053" y="65023"/>
                    <a:pt x="297153" y="65023"/>
                  </a:cubicBezTo>
                  <a:cubicBezTo>
                    <a:pt x="297153" y="65023"/>
                    <a:pt x="297603" y="64573"/>
                    <a:pt x="298953" y="64123"/>
                  </a:cubicBezTo>
                  <a:cubicBezTo>
                    <a:pt x="306151" y="59175"/>
                    <a:pt x="304801" y="55126"/>
                    <a:pt x="304801" y="55126"/>
                  </a:cubicBezTo>
                  <a:cubicBezTo>
                    <a:pt x="299852" y="60075"/>
                    <a:pt x="293104" y="54676"/>
                    <a:pt x="293104" y="54676"/>
                  </a:cubicBezTo>
                  <a:cubicBezTo>
                    <a:pt x="294904" y="54676"/>
                    <a:pt x="296703" y="52877"/>
                    <a:pt x="296703" y="52877"/>
                  </a:cubicBezTo>
                  <a:cubicBezTo>
                    <a:pt x="294904" y="53327"/>
                    <a:pt x="294004" y="53327"/>
                    <a:pt x="293104" y="49728"/>
                  </a:cubicBezTo>
                  <a:cubicBezTo>
                    <a:pt x="292205" y="46129"/>
                    <a:pt x="292655" y="42980"/>
                    <a:pt x="288606" y="38481"/>
                  </a:cubicBezTo>
                  <a:cubicBezTo>
                    <a:pt x="284557" y="33982"/>
                    <a:pt x="282758" y="33083"/>
                    <a:pt x="280508" y="31283"/>
                  </a:cubicBezTo>
                  <a:cubicBezTo>
                    <a:pt x="278259" y="29484"/>
                    <a:pt x="278259" y="26784"/>
                    <a:pt x="275110" y="23186"/>
                  </a:cubicBezTo>
                  <a:cubicBezTo>
                    <a:pt x="271511" y="19587"/>
                    <a:pt x="267462" y="21386"/>
                    <a:pt x="260264" y="18687"/>
                  </a:cubicBezTo>
                  <a:cubicBezTo>
                    <a:pt x="253066" y="15988"/>
                    <a:pt x="228774" y="8790"/>
                    <a:pt x="225625" y="7440"/>
                  </a:cubicBezTo>
                  <a:cubicBezTo>
                    <a:pt x="222926" y="6541"/>
                    <a:pt x="213029" y="5641"/>
                    <a:pt x="214378" y="5641"/>
                  </a:cubicBezTo>
                  <a:cubicBezTo>
                    <a:pt x="216178" y="5641"/>
                    <a:pt x="217077" y="3392"/>
                    <a:pt x="217077" y="3392"/>
                  </a:cubicBezTo>
                  <a:cubicBezTo>
                    <a:pt x="217077" y="3392"/>
                    <a:pt x="215278" y="4291"/>
                    <a:pt x="210779" y="3392"/>
                  </a:cubicBezTo>
                  <a:cubicBezTo>
                    <a:pt x="206281" y="2492"/>
                    <a:pt x="200432" y="1592"/>
                    <a:pt x="195934" y="1592"/>
                  </a:cubicBezTo>
                  <a:cubicBezTo>
                    <a:pt x="191435" y="1592"/>
                    <a:pt x="188286" y="2942"/>
                    <a:pt x="183787" y="3842"/>
                  </a:cubicBezTo>
                  <a:cubicBezTo>
                    <a:pt x="179738" y="4741"/>
                    <a:pt x="176140" y="5191"/>
                    <a:pt x="174340" y="4741"/>
                  </a:cubicBezTo>
                  <a:cubicBezTo>
                    <a:pt x="171641" y="3842"/>
                    <a:pt x="169841" y="4741"/>
                    <a:pt x="169841" y="4741"/>
                  </a:cubicBezTo>
                  <a:cubicBezTo>
                    <a:pt x="165793" y="4741"/>
                    <a:pt x="162194" y="8340"/>
                    <a:pt x="155446" y="13289"/>
                  </a:cubicBezTo>
                  <a:cubicBezTo>
                    <a:pt x="149148" y="18237"/>
                    <a:pt x="149597" y="20936"/>
                    <a:pt x="144199" y="24535"/>
                  </a:cubicBezTo>
                  <a:cubicBezTo>
                    <a:pt x="138801" y="28134"/>
                    <a:pt x="134752" y="31733"/>
                    <a:pt x="128904" y="40730"/>
                  </a:cubicBezTo>
                  <a:cubicBezTo>
                    <a:pt x="123056" y="49278"/>
                    <a:pt x="115408" y="63224"/>
                    <a:pt x="109560" y="74470"/>
                  </a:cubicBezTo>
                  <a:cubicBezTo>
                    <a:pt x="104161" y="85717"/>
                    <a:pt x="108660" y="97413"/>
                    <a:pt x="110909" y="105961"/>
                  </a:cubicBezTo>
                  <a:cubicBezTo>
                    <a:pt x="113159" y="114508"/>
                    <a:pt x="117207" y="147348"/>
                    <a:pt x="117207" y="153646"/>
                  </a:cubicBezTo>
                  <a:cubicBezTo>
                    <a:pt x="117207" y="158595"/>
                    <a:pt x="114508" y="167142"/>
                    <a:pt x="113159" y="170291"/>
                  </a:cubicBezTo>
                  <a:cubicBezTo>
                    <a:pt x="104161" y="168492"/>
                    <a:pt x="92465" y="167592"/>
                    <a:pt x="91115" y="173890"/>
                  </a:cubicBezTo>
                  <a:cubicBezTo>
                    <a:pt x="88866" y="183338"/>
                    <a:pt x="88416" y="202682"/>
                    <a:pt x="87516" y="207180"/>
                  </a:cubicBezTo>
                  <a:cubicBezTo>
                    <a:pt x="81668" y="212579"/>
                    <a:pt x="68622" y="226075"/>
                    <a:pt x="62324" y="232823"/>
                  </a:cubicBezTo>
                  <a:cubicBezTo>
                    <a:pt x="56026" y="239571"/>
                    <a:pt x="51977" y="247668"/>
                    <a:pt x="45679" y="255766"/>
                  </a:cubicBezTo>
                  <a:cubicBezTo>
                    <a:pt x="39381" y="263863"/>
                    <a:pt x="33532" y="271961"/>
                    <a:pt x="26335" y="282758"/>
                  </a:cubicBezTo>
                  <a:cubicBezTo>
                    <a:pt x="19137" y="294004"/>
                    <a:pt x="15088" y="314248"/>
                    <a:pt x="12839" y="324145"/>
                  </a:cubicBezTo>
                  <a:cubicBezTo>
                    <a:pt x="10139" y="334042"/>
                    <a:pt x="10139" y="344389"/>
                    <a:pt x="9240" y="355636"/>
                  </a:cubicBezTo>
                  <a:cubicBezTo>
                    <a:pt x="7890" y="366882"/>
                    <a:pt x="22736" y="421766"/>
                    <a:pt x="27684" y="437061"/>
                  </a:cubicBezTo>
                  <a:cubicBezTo>
                    <a:pt x="33083" y="452357"/>
                    <a:pt x="44329" y="491495"/>
                    <a:pt x="50627" y="507240"/>
                  </a:cubicBezTo>
                  <a:cubicBezTo>
                    <a:pt x="55126" y="519386"/>
                    <a:pt x="65923" y="531533"/>
                    <a:pt x="73120" y="538281"/>
                  </a:cubicBezTo>
                  <a:cubicBezTo>
                    <a:pt x="79419" y="545928"/>
                    <a:pt x="86167" y="552676"/>
                    <a:pt x="87066" y="558075"/>
                  </a:cubicBezTo>
                  <a:cubicBezTo>
                    <a:pt x="87966" y="562573"/>
                    <a:pt x="87966" y="565722"/>
                    <a:pt x="87516" y="568422"/>
                  </a:cubicBezTo>
                  <a:cubicBezTo>
                    <a:pt x="85717" y="572470"/>
                    <a:pt x="84817" y="581018"/>
                    <a:pt x="85717" y="584167"/>
                  </a:cubicBezTo>
                  <a:cubicBezTo>
                    <a:pt x="87066" y="587316"/>
                    <a:pt x="85267" y="591365"/>
                    <a:pt x="82118" y="594064"/>
                  </a:cubicBezTo>
                  <a:cubicBezTo>
                    <a:pt x="81668" y="594514"/>
                    <a:pt x="81218" y="595413"/>
                    <a:pt x="80768" y="595863"/>
                  </a:cubicBezTo>
                  <a:cubicBezTo>
                    <a:pt x="80318" y="596763"/>
                    <a:pt x="79868" y="597663"/>
                    <a:pt x="79419" y="598563"/>
                  </a:cubicBezTo>
                  <a:cubicBezTo>
                    <a:pt x="77619" y="602161"/>
                    <a:pt x="76270" y="606660"/>
                    <a:pt x="74920" y="608909"/>
                  </a:cubicBezTo>
                  <a:cubicBezTo>
                    <a:pt x="74470" y="609809"/>
                    <a:pt x="73571" y="610259"/>
                    <a:pt x="72671" y="611159"/>
                  </a:cubicBezTo>
                  <a:cubicBezTo>
                    <a:pt x="71321" y="612058"/>
                    <a:pt x="69972" y="613408"/>
                    <a:pt x="69072" y="615208"/>
                  </a:cubicBezTo>
                  <a:cubicBezTo>
                    <a:pt x="69972" y="614308"/>
                    <a:pt x="71321" y="612958"/>
                    <a:pt x="72671" y="611608"/>
                  </a:cubicBezTo>
                  <a:cubicBezTo>
                    <a:pt x="71771" y="612508"/>
                    <a:pt x="70421" y="613858"/>
                    <a:pt x="69072" y="615208"/>
                  </a:cubicBezTo>
                  <a:cubicBezTo>
                    <a:pt x="69072" y="615208"/>
                    <a:pt x="69072" y="615208"/>
                    <a:pt x="69072" y="615208"/>
                  </a:cubicBezTo>
                  <a:cubicBezTo>
                    <a:pt x="69072" y="615208"/>
                    <a:pt x="69072" y="615208"/>
                    <a:pt x="68622" y="615657"/>
                  </a:cubicBezTo>
                  <a:cubicBezTo>
                    <a:pt x="65923" y="618356"/>
                    <a:pt x="63673" y="621056"/>
                    <a:pt x="61874" y="624205"/>
                  </a:cubicBezTo>
                  <a:cubicBezTo>
                    <a:pt x="60974" y="626004"/>
                    <a:pt x="60524" y="627804"/>
                    <a:pt x="60524" y="629153"/>
                  </a:cubicBezTo>
                  <a:cubicBezTo>
                    <a:pt x="58275" y="639500"/>
                    <a:pt x="65923" y="643099"/>
                    <a:pt x="70871" y="640850"/>
                  </a:cubicBezTo>
                  <a:cubicBezTo>
                    <a:pt x="71321" y="640850"/>
                    <a:pt x="71771" y="640400"/>
                    <a:pt x="72221" y="640400"/>
                  </a:cubicBezTo>
                  <a:cubicBezTo>
                    <a:pt x="72221" y="640400"/>
                    <a:pt x="72221" y="640400"/>
                    <a:pt x="72221" y="640400"/>
                  </a:cubicBezTo>
                  <a:cubicBezTo>
                    <a:pt x="72221" y="640400"/>
                    <a:pt x="70871" y="644899"/>
                    <a:pt x="69072" y="649847"/>
                  </a:cubicBezTo>
                  <a:cubicBezTo>
                    <a:pt x="68172" y="652546"/>
                    <a:pt x="66373" y="657945"/>
                    <a:pt x="64573" y="663343"/>
                  </a:cubicBezTo>
                  <a:cubicBezTo>
                    <a:pt x="61424" y="670091"/>
                    <a:pt x="56925" y="676839"/>
                    <a:pt x="56026" y="683137"/>
                  </a:cubicBezTo>
                  <a:cubicBezTo>
                    <a:pt x="56026" y="684037"/>
                    <a:pt x="55576" y="685386"/>
                    <a:pt x="55576" y="686736"/>
                  </a:cubicBezTo>
                  <a:cubicBezTo>
                    <a:pt x="54676" y="691234"/>
                    <a:pt x="54226" y="696183"/>
                    <a:pt x="54226" y="700682"/>
                  </a:cubicBezTo>
                  <a:cubicBezTo>
                    <a:pt x="54226" y="710129"/>
                    <a:pt x="59625" y="759164"/>
                    <a:pt x="60974" y="768161"/>
                  </a:cubicBezTo>
                  <a:cubicBezTo>
                    <a:pt x="62324" y="776709"/>
                    <a:pt x="64573" y="783907"/>
                    <a:pt x="67272" y="789305"/>
                  </a:cubicBezTo>
                  <a:cubicBezTo>
                    <a:pt x="69522" y="794703"/>
                    <a:pt x="82118" y="839690"/>
                    <a:pt x="85717" y="855885"/>
                  </a:cubicBezTo>
                  <a:cubicBezTo>
                    <a:pt x="89316" y="872080"/>
                    <a:pt x="90216" y="881077"/>
                    <a:pt x="89316" y="892324"/>
                  </a:cubicBezTo>
                  <a:cubicBezTo>
                    <a:pt x="88416" y="903571"/>
                    <a:pt x="88416" y="931912"/>
                    <a:pt x="89316" y="937310"/>
                  </a:cubicBezTo>
                  <a:cubicBezTo>
                    <a:pt x="90216" y="942709"/>
                    <a:pt x="85717" y="946757"/>
                    <a:pt x="81218" y="956655"/>
                  </a:cubicBezTo>
                  <a:cubicBezTo>
                    <a:pt x="76720" y="966552"/>
                    <a:pt x="78969" y="997142"/>
                    <a:pt x="79868" y="1006140"/>
                  </a:cubicBezTo>
                  <a:cubicBezTo>
                    <a:pt x="80768" y="1015137"/>
                    <a:pt x="69522" y="1020985"/>
                    <a:pt x="66373" y="1025484"/>
                  </a:cubicBezTo>
                  <a:cubicBezTo>
                    <a:pt x="63224" y="1029982"/>
                    <a:pt x="61874" y="1047078"/>
                    <a:pt x="61424" y="1052026"/>
                  </a:cubicBezTo>
                  <a:cubicBezTo>
                    <a:pt x="60974" y="1056974"/>
                    <a:pt x="54226" y="1059674"/>
                    <a:pt x="52877" y="1069121"/>
                  </a:cubicBezTo>
                  <a:cubicBezTo>
                    <a:pt x="51527" y="1078568"/>
                    <a:pt x="48828" y="1096563"/>
                    <a:pt x="45679" y="1107359"/>
                  </a:cubicBezTo>
                  <a:cubicBezTo>
                    <a:pt x="42080" y="1118156"/>
                    <a:pt x="42530" y="1140199"/>
                    <a:pt x="39381" y="1150096"/>
                  </a:cubicBezTo>
                  <a:cubicBezTo>
                    <a:pt x="36232" y="1159544"/>
                    <a:pt x="37131" y="1171690"/>
                    <a:pt x="34882" y="1181137"/>
                  </a:cubicBezTo>
                  <a:cubicBezTo>
                    <a:pt x="32633" y="1190584"/>
                    <a:pt x="20037" y="1265262"/>
                    <a:pt x="16438" y="1281907"/>
                  </a:cubicBezTo>
                  <a:cubicBezTo>
                    <a:pt x="12839" y="1298102"/>
                    <a:pt x="9240" y="1340839"/>
                    <a:pt x="8340" y="1348487"/>
                  </a:cubicBezTo>
                  <a:cubicBezTo>
                    <a:pt x="7890" y="1356134"/>
                    <a:pt x="6091" y="1364682"/>
                    <a:pt x="7890" y="1371430"/>
                  </a:cubicBezTo>
                  <a:cubicBezTo>
                    <a:pt x="9690" y="1377728"/>
                    <a:pt x="6541" y="1385825"/>
                    <a:pt x="7440" y="1390774"/>
                  </a:cubicBezTo>
                  <a:cubicBezTo>
                    <a:pt x="6991" y="1394823"/>
                    <a:pt x="8790" y="1395273"/>
                    <a:pt x="6091" y="1397072"/>
                  </a:cubicBezTo>
                  <a:close/>
                  <a:moveTo>
                    <a:pt x="409619" y="459554"/>
                  </a:moveTo>
                  <a:lnTo>
                    <a:pt x="409619" y="459554"/>
                  </a:lnTo>
                  <a:lnTo>
                    <a:pt x="409619" y="459554"/>
                  </a:lnTo>
                  <a:cubicBezTo>
                    <a:pt x="409619" y="459554"/>
                    <a:pt x="409619" y="459554"/>
                    <a:pt x="409619" y="459554"/>
                  </a:cubicBezTo>
                  <a:close/>
                  <a:moveTo>
                    <a:pt x="275110" y="122156"/>
                  </a:moveTo>
                  <a:cubicBezTo>
                    <a:pt x="280058" y="122606"/>
                    <a:pt x="285457" y="124405"/>
                    <a:pt x="285457" y="124405"/>
                  </a:cubicBezTo>
                  <a:cubicBezTo>
                    <a:pt x="285457" y="124405"/>
                    <a:pt x="285457" y="125305"/>
                    <a:pt x="283657" y="126205"/>
                  </a:cubicBezTo>
                  <a:cubicBezTo>
                    <a:pt x="281858" y="127105"/>
                    <a:pt x="276459" y="130703"/>
                    <a:pt x="274210" y="133402"/>
                  </a:cubicBezTo>
                  <a:cubicBezTo>
                    <a:pt x="274210" y="133852"/>
                    <a:pt x="271061" y="123505"/>
                    <a:pt x="275110" y="122156"/>
                  </a:cubicBezTo>
                  <a:close/>
                  <a:moveTo>
                    <a:pt x="130253" y="1267061"/>
                  </a:moveTo>
                  <a:cubicBezTo>
                    <a:pt x="131153" y="1272460"/>
                    <a:pt x="133402" y="1281457"/>
                    <a:pt x="136102" y="1285955"/>
                  </a:cubicBezTo>
                  <a:cubicBezTo>
                    <a:pt x="140150" y="1292703"/>
                    <a:pt x="143749" y="1305300"/>
                    <a:pt x="143300" y="1312048"/>
                  </a:cubicBezTo>
                  <a:cubicBezTo>
                    <a:pt x="142850" y="1318346"/>
                    <a:pt x="130253" y="1331392"/>
                    <a:pt x="130253" y="1331392"/>
                  </a:cubicBezTo>
                  <a:cubicBezTo>
                    <a:pt x="130253" y="1331392"/>
                    <a:pt x="130703" y="1290904"/>
                    <a:pt x="130253" y="1278758"/>
                  </a:cubicBezTo>
                  <a:cubicBezTo>
                    <a:pt x="129804" y="1271560"/>
                    <a:pt x="129804" y="1267511"/>
                    <a:pt x="129354" y="1264812"/>
                  </a:cubicBezTo>
                  <a:cubicBezTo>
                    <a:pt x="129804" y="1265712"/>
                    <a:pt x="130253" y="1266611"/>
                    <a:pt x="130253" y="1267061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0" name="任意多边形: 形状 9849">
              <a:extLst>
                <a:ext uri="{FF2B5EF4-FFF2-40B4-BE49-F238E27FC236}">
                  <a16:creationId xmlns:a16="http://schemas.microsoft.com/office/drawing/2014/main" id="{949FC21A-5460-4DBB-9274-44B8FD760B49}"/>
                </a:ext>
              </a:extLst>
            </p:cNvPr>
            <p:cNvSpPr/>
            <p:nvPr/>
          </p:nvSpPr>
          <p:spPr>
            <a:xfrm>
              <a:off x="9506383" y="4312347"/>
              <a:ext cx="677950" cy="1928116"/>
            </a:xfrm>
            <a:custGeom>
              <a:avLst/>
              <a:gdLst>
                <a:gd name="connsiteX0" fmla="*/ 201650 w 490352"/>
                <a:gd name="connsiteY0" fmla="*/ 82516 h 1394580"/>
                <a:gd name="connsiteX1" fmla="*/ 198951 w 490352"/>
                <a:gd name="connsiteY1" fmla="*/ 69470 h 1394580"/>
                <a:gd name="connsiteX2" fmla="*/ 185005 w 490352"/>
                <a:gd name="connsiteY2" fmla="*/ 42028 h 1394580"/>
                <a:gd name="connsiteX3" fmla="*/ 159813 w 490352"/>
                <a:gd name="connsiteY3" fmla="*/ 19085 h 1394580"/>
                <a:gd name="connsiteX4" fmla="*/ 138669 w 490352"/>
                <a:gd name="connsiteY4" fmla="*/ 13687 h 1394580"/>
                <a:gd name="connsiteX5" fmla="*/ 126973 w 490352"/>
                <a:gd name="connsiteY5" fmla="*/ 6489 h 1394580"/>
                <a:gd name="connsiteX6" fmla="*/ 81986 w 490352"/>
                <a:gd name="connsiteY6" fmla="*/ 6039 h 1394580"/>
                <a:gd name="connsiteX7" fmla="*/ 33851 w 490352"/>
                <a:gd name="connsiteY7" fmla="*/ 33031 h 1394580"/>
                <a:gd name="connsiteX8" fmla="*/ 8658 w 490352"/>
                <a:gd name="connsiteY8" fmla="*/ 73519 h 1394580"/>
                <a:gd name="connsiteX9" fmla="*/ 10458 w 490352"/>
                <a:gd name="connsiteY9" fmla="*/ 127053 h 1394580"/>
                <a:gd name="connsiteX10" fmla="*/ 20355 w 490352"/>
                <a:gd name="connsiteY10" fmla="*/ 133351 h 1394580"/>
                <a:gd name="connsiteX11" fmla="*/ 29352 w 490352"/>
                <a:gd name="connsiteY11" fmla="*/ 140998 h 1394580"/>
                <a:gd name="connsiteX12" fmla="*/ 39249 w 490352"/>
                <a:gd name="connsiteY12" fmla="*/ 149546 h 1394580"/>
                <a:gd name="connsiteX13" fmla="*/ 36100 w 490352"/>
                <a:gd name="connsiteY13" fmla="*/ 176088 h 1394580"/>
                <a:gd name="connsiteX14" fmla="*/ 46897 w 490352"/>
                <a:gd name="connsiteY14" fmla="*/ 185085 h 1394580"/>
                <a:gd name="connsiteX15" fmla="*/ 49146 w 490352"/>
                <a:gd name="connsiteY15" fmla="*/ 195882 h 1394580"/>
                <a:gd name="connsiteX16" fmla="*/ 54545 w 490352"/>
                <a:gd name="connsiteY16" fmla="*/ 199931 h 1394580"/>
                <a:gd name="connsiteX17" fmla="*/ 56344 w 490352"/>
                <a:gd name="connsiteY17" fmla="*/ 206229 h 1394580"/>
                <a:gd name="connsiteX18" fmla="*/ 54545 w 490352"/>
                <a:gd name="connsiteY18" fmla="*/ 224223 h 1394580"/>
                <a:gd name="connsiteX19" fmla="*/ 51845 w 490352"/>
                <a:gd name="connsiteY19" fmla="*/ 238169 h 1394580"/>
                <a:gd name="connsiteX20" fmla="*/ 50496 w 490352"/>
                <a:gd name="connsiteY20" fmla="*/ 253465 h 1394580"/>
                <a:gd name="connsiteX21" fmla="*/ 56794 w 490352"/>
                <a:gd name="connsiteY21" fmla="*/ 276858 h 1394580"/>
                <a:gd name="connsiteX22" fmla="*/ 42398 w 490352"/>
                <a:gd name="connsiteY22" fmla="*/ 291253 h 1394580"/>
                <a:gd name="connsiteX23" fmla="*/ 32501 w 490352"/>
                <a:gd name="connsiteY23" fmla="*/ 340288 h 1394580"/>
                <a:gd name="connsiteX24" fmla="*/ 35650 w 490352"/>
                <a:gd name="connsiteY24" fmla="*/ 377177 h 1394580"/>
                <a:gd name="connsiteX25" fmla="*/ 23504 w 490352"/>
                <a:gd name="connsiteY25" fmla="*/ 408668 h 1394580"/>
                <a:gd name="connsiteX26" fmla="*/ 22154 w 490352"/>
                <a:gd name="connsiteY26" fmla="*/ 432061 h 1394580"/>
                <a:gd name="connsiteX27" fmla="*/ 10908 w 490352"/>
                <a:gd name="connsiteY27" fmla="*/ 465801 h 1394580"/>
                <a:gd name="connsiteX28" fmla="*/ 32951 w 490352"/>
                <a:gd name="connsiteY28" fmla="*/ 513036 h 1394580"/>
                <a:gd name="connsiteX29" fmla="*/ 75238 w 490352"/>
                <a:gd name="connsiteY29" fmla="*/ 520684 h 1394580"/>
                <a:gd name="connsiteX30" fmla="*/ 82436 w 490352"/>
                <a:gd name="connsiteY30" fmla="*/ 530131 h 1394580"/>
                <a:gd name="connsiteX31" fmla="*/ 84685 w 490352"/>
                <a:gd name="connsiteY31" fmla="*/ 544977 h 1394580"/>
                <a:gd name="connsiteX32" fmla="*/ 83336 w 490352"/>
                <a:gd name="connsiteY32" fmla="*/ 556223 h 1394580"/>
                <a:gd name="connsiteX33" fmla="*/ 95033 w 490352"/>
                <a:gd name="connsiteY33" fmla="*/ 581416 h 1394580"/>
                <a:gd name="connsiteX34" fmla="*/ 92333 w 490352"/>
                <a:gd name="connsiteY34" fmla="*/ 589963 h 1394580"/>
                <a:gd name="connsiteX35" fmla="*/ 67141 w 490352"/>
                <a:gd name="connsiteY35" fmla="*/ 721774 h 1394580"/>
                <a:gd name="connsiteX36" fmla="*/ 72539 w 490352"/>
                <a:gd name="connsiteY36" fmla="*/ 722673 h 1394580"/>
                <a:gd name="connsiteX37" fmla="*/ 68041 w 490352"/>
                <a:gd name="connsiteY37" fmla="*/ 723123 h 1394580"/>
                <a:gd name="connsiteX38" fmla="*/ 72989 w 490352"/>
                <a:gd name="connsiteY38" fmla="*/ 723123 h 1394580"/>
                <a:gd name="connsiteX39" fmla="*/ 77488 w 490352"/>
                <a:gd name="connsiteY39" fmla="*/ 724023 h 1394580"/>
                <a:gd name="connsiteX40" fmla="*/ 75688 w 490352"/>
                <a:gd name="connsiteY40" fmla="*/ 796901 h 1394580"/>
                <a:gd name="connsiteX41" fmla="*/ 88734 w 490352"/>
                <a:gd name="connsiteY41" fmla="*/ 947605 h 1394580"/>
                <a:gd name="connsiteX42" fmla="*/ 101330 w 490352"/>
                <a:gd name="connsiteY42" fmla="*/ 1116755 h 1394580"/>
                <a:gd name="connsiteX43" fmla="*/ 128322 w 490352"/>
                <a:gd name="connsiteY43" fmla="*/ 1264310 h 1394580"/>
                <a:gd name="connsiteX44" fmla="*/ 129222 w 490352"/>
                <a:gd name="connsiteY44" fmla="*/ 1287253 h 1394580"/>
                <a:gd name="connsiteX45" fmla="*/ 133721 w 490352"/>
                <a:gd name="connsiteY45" fmla="*/ 1308397 h 1394580"/>
                <a:gd name="connsiteX46" fmla="*/ 124723 w 490352"/>
                <a:gd name="connsiteY46" fmla="*/ 1329990 h 1394580"/>
                <a:gd name="connsiteX47" fmla="*/ 115726 w 490352"/>
                <a:gd name="connsiteY47" fmla="*/ 1343037 h 1394580"/>
                <a:gd name="connsiteX48" fmla="*/ 86485 w 490352"/>
                <a:gd name="connsiteY48" fmla="*/ 1356982 h 1394580"/>
                <a:gd name="connsiteX49" fmla="*/ 49596 w 490352"/>
                <a:gd name="connsiteY49" fmla="*/ 1360581 h 1394580"/>
                <a:gd name="connsiteX50" fmla="*/ 37000 w 490352"/>
                <a:gd name="connsiteY50" fmla="*/ 1377676 h 1394580"/>
                <a:gd name="connsiteX51" fmla="*/ 32501 w 490352"/>
                <a:gd name="connsiteY51" fmla="*/ 1383075 h 1394580"/>
                <a:gd name="connsiteX52" fmla="*/ 153515 w 490352"/>
                <a:gd name="connsiteY52" fmla="*/ 1393871 h 1394580"/>
                <a:gd name="connsiteX53" fmla="*/ 207049 w 490352"/>
                <a:gd name="connsiteY53" fmla="*/ 1388923 h 1394580"/>
                <a:gd name="connsiteX54" fmla="*/ 207948 w 490352"/>
                <a:gd name="connsiteY54" fmla="*/ 1394771 h 1394580"/>
                <a:gd name="connsiteX55" fmla="*/ 256084 w 490352"/>
                <a:gd name="connsiteY55" fmla="*/ 1389373 h 1394580"/>
                <a:gd name="connsiteX56" fmla="*/ 256084 w 490352"/>
                <a:gd name="connsiteY56" fmla="*/ 1376776 h 1394580"/>
                <a:gd name="connsiteX57" fmla="*/ 248886 w 490352"/>
                <a:gd name="connsiteY57" fmla="*/ 1319194 h 1394580"/>
                <a:gd name="connsiteX58" fmla="*/ 246187 w 490352"/>
                <a:gd name="connsiteY58" fmla="*/ 1298500 h 1394580"/>
                <a:gd name="connsiteX59" fmla="*/ 244837 w 490352"/>
                <a:gd name="connsiteY59" fmla="*/ 1257112 h 1394580"/>
                <a:gd name="connsiteX60" fmla="*/ 244387 w 490352"/>
                <a:gd name="connsiteY60" fmla="*/ 1253963 h 1394580"/>
                <a:gd name="connsiteX61" fmla="*/ 244387 w 490352"/>
                <a:gd name="connsiteY61" fmla="*/ 1245866 h 1394580"/>
                <a:gd name="connsiteX62" fmla="*/ 239439 w 490352"/>
                <a:gd name="connsiteY62" fmla="*/ 1120354 h 1394580"/>
                <a:gd name="connsiteX63" fmla="*/ 239439 w 490352"/>
                <a:gd name="connsiteY63" fmla="*/ 1118554 h 1394580"/>
                <a:gd name="connsiteX64" fmla="*/ 238539 w 490352"/>
                <a:gd name="connsiteY64" fmla="*/ 1099210 h 1394580"/>
                <a:gd name="connsiteX65" fmla="*/ 235840 w 490352"/>
                <a:gd name="connsiteY65" fmla="*/ 1075817 h 1394580"/>
                <a:gd name="connsiteX66" fmla="*/ 234940 w 490352"/>
                <a:gd name="connsiteY66" fmla="*/ 1065020 h 1394580"/>
                <a:gd name="connsiteX67" fmla="*/ 230891 w 490352"/>
                <a:gd name="connsiteY67" fmla="*/ 1049275 h 1394580"/>
                <a:gd name="connsiteX68" fmla="*/ 230442 w 490352"/>
                <a:gd name="connsiteY68" fmla="*/ 1042977 h 1394580"/>
                <a:gd name="connsiteX69" fmla="*/ 229092 w 490352"/>
                <a:gd name="connsiteY69" fmla="*/ 1019134 h 1394580"/>
                <a:gd name="connsiteX70" fmla="*/ 232241 w 490352"/>
                <a:gd name="connsiteY70" fmla="*/ 1004289 h 1394580"/>
                <a:gd name="connsiteX71" fmla="*/ 237639 w 490352"/>
                <a:gd name="connsiteY71" fmla="*/ 930961 h 1394580"/>
                <a:gd name="connsiteX72" fmla="*/ 230891 w 490352"/>
                <a:gd name="connsiteY72" fmla="*/ 908017 h 1394580"/>
                <a:gd name="connsiteX73" fmla="*/ 229542 w 490352"/>
                <a:gd name="connsiteY73" fmla="*/ 896321 h 1394580"/>
                <a:gd name="connsiteX74" fmla="*/ 229092 w 490352"/>
                <a:gd name="connsiteY74" fmla="*/ 890473 h 1394580"/>
                <a:gd name="connsiteX75" fmla="*/ 229992 w 490352"/>
                <a:gd name="connsiteY75" fmla="*/ 872028 h 1394580"/>
                <a:gd name="connsiteX76" fmla="*/ 227743 w 490352"/>
                <a:gd name="connsiteY76" fmla="*/ 863031 h 1394580"/>
                <a:gd name="connsiteX77" fmla="*/ 227743 w 490352"/>
                <a:gd name="connsiteY77" fmla="*/ 858982 h 1394580"/>
                <a:gd name="connsiteX78" fmla="*/ 232691 w 490352"/>
                <a:gd name="connsiteY78" fmla="*/ 875177 h 1394580"/>
                <a:gd name="connsiteX79" fmla="*/ 246637 w 490352"/>
                <a:gd name="connsiteY79" fmla="*/ 910717 h 1394580"/>
                <a:gd name="connsiteX80" fmla="*/ 269580 w 490352"/>
                <a:gd name="connsiteY80" fmla="*/ 1003839 h 1394580"/>
                <a:gd name="connsiteX81" fmla="*/ 294772 w 490352"/>
                <a:gd name="connsiteY81" fmla="*/ 1084364 h 1394580"/>
                <a:gd name="connsiteX82" fmla="*/ 328062 w 490352"/>
                <a:gd name="connsiteY82" fmla="*/ 1185134 h 1394580"/>
                <a:gd name="connsiteX83" fmla="*/ 338409 w 490352"/>
                <a:gd name="connsiteY83" fmla="*/ 1253064 h 1394580"/>
                <a:gd name="connsiteX84" fmla="*/ 353705 w 490352"/>
                <a:gd name="connsiteY84" fmla="*/ 1319644 h 1394580"/>
                <a:gd name="connsiteX85" fmla="*/ 369000 w 490352"/>
                <a:gd name="connsiteY85" fmla="*/ 1344836 h 1394580"/>
                <a:gd name="connsiteX86" fmla="*/ 356404 w 490352"/>
                <a:gd name="connsiteY86" fmla="*/ 1359682 h 1394580"/>
                <a:gd name="connsiteX87" fmla="*/ 349206 w 490352"/>
                <a:gd name="connsiteY87" fmla="*/ 1375877 h 1394580"/>
                <a:gd name="connsiteX88" fmla="*/ 346507 w 490352"/>
                <a:gd name="connsiteY88" fmla="*/ 1387123 h 1394580"/>
                <a:gd name="connsiteX89" fmla="*/ 431531 w 490352"/>
                <a:gd name="connsiteY89" fmla="*/ 1394321 h 1394580"/>
                <a:gd name="connsiteX90" fmla="*/ 461222 w 490352"/>
                <a:gd name="connsiteY90" fmla="*/ 1391622 h 1394580"/>
                <a:gd name="connsiteX91" fmla="*/ 466621 w 490352"/>
                <a:gd name="connsiteY91" fmla="*/ 1390722 h 1394580"/>
                <a:gd name="connsiteX92" fmla="*/ 476968 w 490352"/>
                <a:gd name="connsiteY92" fmla="*/ 1385774 h 1394580"/>
                <a:gd name="connsiteX93" fmla="*/ 474718 w 490352"/>
                <a:gd name="connsiteY93" fmla="*/ 1361031 h 1394580"/>
                <a:gd name="connsiteX94" fmla="*/ 475168 w 490352"/>
                <a:gd name="connsiteY94" fmla="*/ 1357882 h 1394580"/>
                <a:gd name="connsiteX95" fmla="*/ 485965 w 490352"/>
                <a:gd name="connsiteY95" fmla="*/ 1338988 h 1394580"/>
                <a:gd name="connsiteX96" fmla="*/ 475168 w 490352"/>
                <a:gd name="connsiteY96" fmla="*/ 1309297 h 1394580"/>
                <a:gd name="connsiteX97" fmla="*/ 470669 w 490352"/>
                <a:gd name="connsiteY97" fmla="*/ 1285004 h 1394580"/>
                <a:gd name="connsiteX98" fmla="*/ 466171 w 490352"/>
                <a:gd name="connsiteY98" fmla="*/ 1252614 h 1394580"/>
                <a:gd name="connsiteX99" fmla="*/ 461222 w 490352"/>
                <a:gd name="connsiteY99" fmla="*/ 1221123 h 1394580"/>
                <a:gd name="connsiteX100" fmla="*/ 461672 w 490352"/>
                <a:gd name="connsiteY100" fmla="*/ 1174787 h 1394580"/>
                <a:gd name="connsiteX101" fmla="*/ 458973 w 490352"/>
                <a:gd name="connsiteY101" fmla="*/ 1123503 h 1394580"/>
                <a:gd name="connsiteX102" fmla="*/ 447726 w 490352"/>
                <a:gd name="connsiteY102" fmla="*/ 1071318 h 1394580"/>
                <a:gd name="connsiteX103" fmla="*/ 433330 w 490352"/>
                <a:gd name="connsiteY103" fmla="*/ 1017784 h 1394580"/>
                <a:gd name="connsiteX104" fmla="*/ 397791 w 490352"/>
                <a:gd name="connsiteY104" fmla="*/ 937259 h 1394580"/>
                <a:gd name="connsiteX105" fmla="*/ 393743 w 490352"/>
                <a:gd name="connsiteY105" fmla="*/ 920164 h 1394580"/>
                <a:gd name="connsiteX106" fmla="*/ 385645 w 490352"/>
                <a:gd name="connsiteY106" fmla="*/ 844587 h 1394580"/>
                <a:gd name="connsiteX107" fmla="*/ 384295 w 490352"/>
                <a:gd name="connsiteY107" fmla="*/ 836489 h 1394580"/>
                <a:gd name="connsiteX108" fmla="*/ 381146 w 490352"/>
                <a:gd name="connsiteY108" fmla="*/ 797801 h 1394580"/>
                <a:gd name="connsiteX109" fmla="*/ 381146 w 490352"/>
                <a:gd name="connsiteY109" fmla="*/ 796901 h 1394580"/>
                <a:gd name="connsiteX110" fmla="*/ 381146 w 490352"/>
                <a:gd name="connsiteY110" fmla="*/ 796001 h 1394580"/>
                <a:gd name="connsiteX111" fmla="*/ 375298 w 490352"/>
                <a:gd name="connsiteY111" fmla="*/ 751015 h 1394580"/>
                <a:gd name="connsiteX112" fmla="*/ 372149 w 490352"/>
                <a:gd name="connsiteY112" fmla="*/ 730321 h 1394580"/>
                <a:gd name="connsiteX113" fmla="*/ 369450 w 490352"/>
                <a:gd name="connsiteY113" fmla="*/ 715925 h 1394580"/>
                <a:gd name="connsiteX114" fmla="*/ 366751 w 490352"/>
                <a:gd name="connsiteY114" fmla="*/ 695681 h 1394580"/>
                <a:gd name="connsiteX115" fmla="*/ 391043 w 490352"/>
                <a:gd name="connsiteY115" fmla="*/ 688484 h 1394580"/>
                <a:gd name="connsiteX116" fmla="*/ 412187 w 490352"/>
                <a:gd name="connsiteY116" fmla="*/ 672289 h 1394580"/>
                <a:gd name="connsiteX117" fmla="*/ 430631 w 490352"/>
                <a:gd name="connsiteY117" fmla="*/ 652494 h 1394580"/>
                <a:gd name="connsiteX118" fmla="*/ 393743 w 490352"/>
                <a:gd name="connsiteY118" fmla="*/ 544527 h 1394580"/>
                <a:gd name="connsiteX119" fmla="*/ 367201 w 490352"/>
                <a:gd name="connsiteY119" fmla="*/ 476597 h 1394580"/>
                <a:gd name="connsiteX120" fmla="*/ 360003 w 490352"/>
                <a:gd name="connsiteY120" fmla="*/ 446006 h 1394580"/>
                <a:gd name="connsiteX121" fmla="*/ 362702 w 490352"/>
                <a:gd name="connsiteY121" fmla="*/ 380326 h 1394580"/>
                <a:gd name="connsiteX122" fmla="*/ 365401 w 490352"/>
                <a:gd name="connsiteY122" fmla="*/ 332191 h 1394580"/>
                <a:gd name="connsiteX123" fmla="*/ 365851 w 490352"/>
                <a:gd name="connsiteY123" fmla="*/ 286305 h 1394580"/>
                <a:gd name="connsiteX124" fmla="*/ 359553 w 490352"/>
                <a:gd name="connsiteY124" fmla="*/ 236370 h 1394580"/>
                <a:gd name="connsiteX125" fmla="*/ 330311 w 490352"/>
                <a:gd name="connsiteY125" fmla="*/ 176088 h 1394580"/>
                <a:gd name="connsiteX126" fmla="*/ 264181 w 490352"/>
                <a:gd name="connsiteY126" fmla="*/ 165291 h 1394580"/>
                <a:gd name="connsiteX127" fmla="*/ 230442 w 490352"/>
                <a:gd name="connsiteY127" fmla="*/ 164391 h 1394580"/>
                <a:gd name="connsiteX128" fmla="*/ 208398 w 490352"/>
                <a:gd name="connsiteY128" fmla="*/ 151345 h 1394580"/>
                <a:gd name="connsiteX129" fmla="*/ 205249 w 490352"/>
                <a:gd name="connsiteY129" fmla="*/ 141898 h 1394580"/>
                <a:gd name="connsiteX130" fmla="*/ 203900 w 490352"/>
                <a:gd name="connsiteY130" fmla="*/ 108608 h 1394580"/>
                <a:gd name="connsiteX131" fmla="*/ 199851 w 490352"/>
                <a:gd name="connsiteY131" fmla="*/ 90164 h 1394580"/>
                <a:gd name="connsiteX132" fmla="*/ 201650 w 490352"/>
                <a:gd name="connsiteY132" fmla="*/ 82516 h 1394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</a:cxnLst>
              <a:rect l="l" t="t" r="r" b="b"/>
              <a:pathLst>
                <a:path w="490352" h="1394580">
                  <a:moveTo>
                    <a:pt x="201650" y="82516"/>
                  </a:moveTo>
                  <a:cubicBezTo>
                    <a:pt x="201200" y="79817"/>
                    <a:pt x="198951" y="75318"/>
                    <a:pt x="198951" y="69470"/>
                  </a:cubicBezTo>
                  <a:cubicBezTo>
                    <a:pt x="198501" y="63622"/>
                    <a:pt x="192203" y="53275"/>
                    <a:pt x="185005" y="42028"/>
                  </a:cubicBezTo>
                  <a:cubicBezTo>
                    <a:pt x="177807" y="30782"/>
                    <a:pt x="167461" y="24034"/>
                    <a:pt x="159813" y="19085"/>
                  </a:cubicBezTo>
                  <a:cubicBezTo>
                    <a:pt x="152615" y="14137"/>
                    <a:pt x="141369" y="13687"/>
                    <a:pt x="138669" y="13687"/>
                  </a:cubicBezTo>
                  <a:cubicBezTo>
                    <a:pt x="135970" y="13687"/>
                    <a:pt x="134171" y="10088"/>
                    <a:pt x="126973" y="6489"/>
                  </a:cubicBezTo>
                  <a:cubicBezTo>
                    <a:pt x="119775" y="2890"/>
                    <a:pt x="97282" y="1990"/>
                    <a:pt x="81986" y="6039"/>
                  </a:cubicBezTo>
                  <a:cubicBezTo>
                    <a:pt x="66691" y="10088"/>
                    <a:pt x="42848" y="24484"/>
                    <a:pt x="33851" y="33031"/>
                  </a:cubicBezTo>
                  <a:cubicBezTo>
                    <a:pt x="24853" y="41578"/>
                    <a:pt x="13157" y="55074"/>
                    <a:pt x="8658" y="73519"/>
                  </a:cubicBezTo>
                  <a:cubicBezTo>
                    <a:pt x="4610" y="91963"/>
                    <a:pt x="-1688" y="105909"/>
                    <a:pt x="10458" y="127053"/>
                  </a:cubicBezTo>
                  <a:cubicBezTo>
                    <a:pt x="22154" y="147746"/>
                    <a:pt x="20355" y="133351"/>
                    <a:pt x="20355" y="133351"/>
                  </a:cubicBezTo>
                  <a:cubicBezTo>
                    <a:pt x="22604" y="136500"/>
                    <a:pt x="25304" y="138749"/>
                    <a:pt x="29352" y="140998"/>
                  </a:cubicBezTo>
                  <a:cubicBezTo>
                    <a:pt x="33401" y="143248"/>
                    <a:pt x="39699" y="145947"/>
                    <a:pt x="39249" y="149546"/>
                  </a:cubicBezTo>
                  <a:cubicBezTo>
                    <a:pt x="38799" y="152695"/>
                    <a:pt x="38799" y="164391"/>
                    <a:pt x="36100" y="176088"/>
                  </a:cubicBezTo>
                  <a:cubicBezTo>
                    <a:pt x="33401" y="187784"/>
                    <a:pt x="46897" y="185085"/>
                    <a:pt x="46897" y="185085"/>
                  </a:cubicBezTo>
                  <a:cubicBezTo>
                    <a:pt x="46897" y="185085"/>
                    <a:pt x="48696" y="191383"/>
                    <a:pt x="49146" y="195882"/>
                  </a:cubicBezTo>
                  <a:cubicBezTo>
                    <a:pt x="49596" y="201280"/>
                    <a:pt x="54545" y="199931"/>
                    <a:pt x="54545" y="199931"/>
                  </a:cubicBezTo>
                  <a:cubicBezTo>
                    <a:pt x="54095" y="203979"/>
                    <a:pt x="52745" y="203080"/>
                    <a:pt x="56344" y="206229"/>
                  </a:cubicBezTo>
                  <a:cubicBezTo>
                    <a:pt x="54095" y="207129"/>
                    <a:pt x="50046" y="210278"/>
                    <a:pt x="54545" y="224223"/>
                  </a:cubicBezTo>
                  <a:cubicBezTo>
                    <a:pt x="57244" y="233221"/>
                    <a:pt x="54994" y="235470"/>
                    <a:pt x="51845" y="238169"/>
                  </a:cubicBezTo>
                  <a:cubicBezTo>
                    <a:pt x="48696" y="240868"/>
                    <a:pt x="46897" y="240868"/>
                    <a:pt x="50496" y="253465"/>
                  </a:cubicBezTo>
                  <a:cubicBezTo>
                    <a:pt x="53645" y="263811"/>
                    <a:pt x="56794" y="268310"/>
                    <a:pt x="56794" y="276858"/>
                  </a:cubicBezTo>
                  <a:cubicBezTo>
                    <a:pt x="54095" y="279557"/>
                    <a:pt x="48696" y="284505"/>
                    <a:pt x="42398" y="291253"/>
                  </a:cubicBezTo>
                  <a:cubicBezTo>
                    <a:pt x="24853" y="297101"/>
                    <a:pt x="31152" y="332191"/>
                    <a:pt x="32501" y="340288"/>
                  </a:cubicBezTo>
                  <a:cubicBezTo>
                    <a:pt x="33851" y="347936"/>
                    <a:pt x="36550" y="371329"/>
                    <a:pt x="35650" y="377177"/>
                  </a:cubicBezTo>
                  <a:cubicBezTo>
                    <a:pt x="34751" y="383025"/>
                    <a:pt x="26653" y="403269"/>
                    <a:pt x="23504" y="408668"/>
                  </a:cubicBezTo>
                  <a:cubicBezTo>
                    <a:pt x="20355" y="413616"/>
                    <a:pt x="21255" y="424863"/>
                    <a:pt x="22154" y="432061"/>
                  </a:cubicBezTo>
                  <a:cubicBezTo>
                    <a:pt x="23054" y="439259"/>
                    <a:pt x="14956" y="446006"/>
                    <a:pt x="10908" y="465801"/>
                  </a:cubicBezTo>
                  <a:cubicBezTo>
                    <a:pt x="6859" y="485595"/>
                    <a:pt x="17656" y="506288"/>
                    <a:pt x="32951" y="513036"/>
                  </a:cubicBezTo>
                  <a:cubicBezTo>
                    <a:pt x="47797" y="519784"/>
                    <a:pt x="70740" y="520234"/>
                    <a:pt x="75238" y="520684"/>
                  </a:cubicBezTo>
                  <a:cubicBezTo>
                    <a:pt x="79737" y="521134"/>
                    <a:pt x="82886" y="526083"/>
                    <a:pt x="82436" y="530131"/>
                  </a:cubicBezTo>
                  <a:cubicBezTo>
                    <a:pt x="80187" y="537779"/>
                    <a:pt x="85135" y="540478"/>
                    <a:pt x="84685" y="544977"/>
                  </a:cubicBezTo>
                  <a:cubicBezTo>
                    <a:pt x="84236" y="549475"/>
                    <a:pt x="82436" y="551725"/>
                    <a:pt x="83336" y="556223"/>
                  </a:cubicBezTo>
                  <a:cubicBezTo>
                    <a:pt x="78837" y="564771"/>
                    <a:pt x="91883" y="573768"/>
                    <a:pt x="95033" y="581416"/>
                  </a:cubicBezTo>
                  <a:cubicBezTo>
                    <a:pt x="88734" y="586814"/>
                    <a:pt x="92333" y="589963"/>
                    <a:pt x="92333" y="589963"/>
                  </a:cubicBezTo>
                  <a:cubicBezTo>
                    <a:pt x="81087" y="617405"/>
                    <a:pt x="67141" y="721774"/>
                    <a:pt x="67141" y="721774"/>
                  </a:cubicBezTo>
                  <a:lnTo>
                    <a:pt x="72539" y="722673"/>
                  </a:lnTo>
                  <a:cubicBezTo>
                    <a:pt x="70740" y="722673"/>
                    <a:pt x="68940" y="723123"/>
                    <a:pt x="68041" y="723123"/>
                  </a:cubicBezTo>
                  <a:cubicBezTo>
                    <a:pt x="69390" y="723123"/>
                    <a:pt x="71189" y="723123"/>
                    <a:pt x="72989" y="723123"/>
                  </a:cubicBezTo>
                  <a:lnTo>
                    <a:pt x="77488" y="724023"/>
                  </a:lnTo>
                  <a:cubicBezTo>
                    <a:pt x="77937" y="730321"/>
                    <a:pt x="75238" y="769909"/>
                    <a:pt x="75688" y="796901"/>
                  </a:cubicBezTo>
                  <a:cubicBezTo>
                    <a:pt x="76138" y="823893"/>
                    <a:pt x="86485" y="903969"/>
                    <a:pt x="88734" y="947605"/>
                  </a:cubicBezTo>
                  <a:cubicBezTo>
                    <a:pt x="90984" y="991242"/>
                    <a:pt x="97282" y="1081215"/>
                    <a:pt x="101330" y="1116755"/>
                  </a:cubicBezTo>
                  <a:cubicBezTo>
                    <a:pt x="105379" y="1152294"/>
                    <a:pt x="123374" y="1258912"/>
                    <a:pt x="128322" y="1264310"/>
                  </a:cubicBezTo>
                  <a:cubicBezTo>
                    <a:pt x="132821" y="1269709"/>
                    <a:pt x="131471" y="1278256"/>
                    <a:pt x="129222" y="1287253"/>
                  </a:cubicBezTo>
                  <a:cubicBezTo>
                    <a:pt x="127423" y="1296250"/>
                    <a:pt x="131022" y="1303898"/>
                    <a:pt x="133721" y="1308397"/>
                  </a:cubicBezTo>
                  <a:cubicBezTo>
                    <a:pt x="136420" y="1312896"/>
                    <a:pt x="126973" y="1325042"/>
                    <a:pt x="124723" y="1329990"/>
                  </a:cubicBezTo>
                  <a:cubicBezTo>
                    <a:pt x="122024" y="1334939"/>
                    <a:pt x="119325" y="1338988"/>
                    <a:pt x="115726" y="1343037"/>
                  </a:cubicBezTo>
                  <a:cubicBezTo>
                    <a:pt x="112127" y="1346635"/>
                    <a:pt x="94133" y="1355183"/>
                    <a:pt x="86485" y="1356982"/>
                  </a:cubicBezTo>
                  <a:cubicBezTo>
                    <a:pt x="78837" y="1358782"/>
                    <a:pt x="59043" y="1360131"/>
                    <a:pt x="49596" y="1360581"/>
                  </a:cubicBezTo>
                  <a:cubicBezTo>
                    <a:pt x="40149" y="1361031"/>
                    <a:pt x="37000" y="1377676"/>
                    <a:pt x="37000" y="1377676"/>
                  </a:cubicBezTo>
                  <a:cubicBezTo>
                    <a:pt x="26653" y="1379026"/>
                    <a:pt x="32501" y="1383075"/>
                    <a:pt x="32501" y="1383075"/>
                  </a:cubicBezTo>
                  <a:cubicBezTo>
                    <a:pt x="44198" y="1397020"/>
                    <a:pt x="135520" y="1396120"/>
                    <a:pt x="153515" y="1393871"/>
                  </a:cubicBezTo>
                  <a:cubicBezTo>
                    <a:pt x="171509" y="1392072"/>
                    <a:pt x="207049" y="1388923"/>
                    <a:pt x="207049" y="1388923"/>
                  </a:cubicBezTo>
                  <a:lnTo>
                    <a:pt x="207948" y="1394771"/>
                  </a:lnTo>
                  <a:lnTo>
                    <a:pt x="256084" y="1389373"/>
                  </a:lnTo>
                  <a:cubicBezTo>
                    <a:pt x="256084" y="1384874"/>
                    <a:pt x="256084" y="1380375"/>
                    <a:pt x="256084" y="1376776"/>
                  </a:cubicBezTo>
                  <a:cubicBezTo>
                    <a:pt x="259683" y="1358782"/>
                    <a:pt x="251135" y="1328641"/>
                    <a:pt x="248886" y="1319194"/>
                  </a:cubicBezTo>
                  <a:cubicBezTo>
                    <a:pt x="247986" y="1315145"/>
                    <a:pt x="247086" y="1307947"/>
                    <a:pt x="246187" y="1298500"/>
                  </a:cubicBezTo>
                  <a:cubicBezTo>
                    <a:pt x="246187" y="1287703"/>
                    <a:pt x="246187" y="1273308"/>
                    <a:pt x="244837" y="1257112"/>
                  </a:cubicBezTo>
                  <a:cubicBezTo>
                    <a:pt x="244837" y="1256213"/>
                    <a:pt x="244837" y="1254863"/>
                    <a:pt x="244387" y="1253963"/>
                  </a:cubicBezTo>
                  <a:cubicBezTo>
                    <a:pt x="244387" y="1251264"/>
                    <a:pt x="244387" y="1248565"/>
                    <a:pt x="244387" y="1245866"/>
                  </a:cubicBezTo>
                  <a:cubicBezTo>
                    <a:pt x="244387" y="1222923"/>
                    <a:pt x="241239" y="1157692"/>
                    <a:pt x="239439" y="1120354"/>
                  </a:cubicBezTo>
                  <a:cubicBezTo>
                    <a:pt x="239439" y="1119904"/>
                    <a:pt x="239439" y="1119004"/>
                    <a:pt x="239439" y="1118554"/>
                  </a:cubicBezTo>
                  <a:cubicBezTo>
                    <a:pt x="239439" y="1111356"/>
                    <a:pt x="238989" y="1105058"/>
                    <a:pt x="238539" y="1099210"/>
                  </a:cubicBezTo>
                  <a:cubicBezTo>
                    <a:pt x="238089" y="1090663"/>
                    <a:pt x="237190" y="1082565"/>
                    <a:pt x="235840" y="1075817"/>
                  </a:cubicBezTo>
                  <a:cubicBezTo>
                    <a:pt x="235390" y="1072218"/>
                    <a:pt x="234940" y="1068619"/>
                    <a:pt x="234940" y="1065020"/>
                  </a:cubicBezTo>
                  <a:cubicBezTo>
                    <a:pt x="234940" y="1057373"/>
                    <a:pt x="232691" y="1053324"/>
                    <a:pt x="230891" y="1049275"/>
                  </a:cubicBezTo>
                  <a:cubicBezTo>
                    <a:pt x="230442" y="1047026"/>
                    <a:pt x="230442" y="1045226"/>
                    <a:pt x="230442" y="1042977"/>
                  </a:cubicBezTo>
                  <a:cubicBezTo>
                    <a:pt x="229992" y="1034879"/>
                    <a:pt x="228642" y="1027682"/>
                    <a:pt x="229092" y="1019134"/>
                  </a:cubicBezTo>
                  <a:cubicBezTo>
                    <a:pt x="229992" y="1014186"/>
                    <a:pt x="231341" y="1009687"/>
                    <a:pt x="232241" y="1004289"/>
                  </a:cubicBezTo>
                  <a:cubicBezTo>
                    <a:pt x="237639" y="988093"/>
                    <a:pt x="237639" y="954803"/>
                    <a:pt x="237639" y="930961"/>
                  </a:cubicBezTo>
                  <a:cubicBezTo>
                    <a:pt x="237639" y="910717"/>
                    <a:pt x="234041" y="912066"/>
                    <a:pt x="230891" y="908017"/>
                  </a:cubicBezTo>
                  <a:cubicBezTo>
                    <a:pt x="230442" y="903069"/>
                    <a:pt x="229992" y="899020"/>
                    <a:pt x="229542" y="896321"/>
                  </a:cubicBezTo>
                  <a:cubicBezTo>
                    <a:pt x="229092" y="894521"/>
                    <a:pt x="229092" y="892722"/>
                    <a:pt x="229092" y="890473"/>
                  </a:cubicBezTo>
                  <a:cubicBezTo>
                    <a:pt x="229542" y="884624"/>
                    <a:pt x="230442" y="877876"/>
                    <a:pt x="229992" y="872028"/>
                  </a:cubicBezTo>
                  <a:cubicBezTo>
                    <a:pt x="229542" y="869779"/>
                    <a:pt x="229092" y="866630"/>
                    <a:pt x="227743" y="863031"/>
                  </a:cubicBezTo>
                  <a:cubicBezTo>
                    <a:pt x="227743" y="860332"/>
                    <a:pt x="227743" y="858982"/>
                    <a:pt x="227743" y="858982"/>
                  </a:cubicBezTo>
                  <a:cubicBezTo>
                    <a:pt x="227743" y="858982"/>
                    <a:pt x="230442" y="868879"/>
                    <a:pt x="232691" y="875177"/>
                  </a:cubicBezTo>
                  <a:cubicBezTo>
                    <a:pt x="234940" y="881476"/>
                    <a:pt x="244387" y="901719"/>
                    <a:pt x="246637" y="910717"/>
                  </a:cubicBezTo>
                  <a:cubicBezTo>
                    <a:pt x="249336" y="919714"/>
                    <a:pt x="262832" y="975497"/>
                    <a:pt x="269580" y="1003839"/>
                  </a:cubicBezTo>
                  <a:cubicBezTo>
                    <a:pt x="276328" y="1032180"/>
                    <a:pt x="288025" y="1067270"/>
                    <a:pt x="294772" y="1084364"/>
                  </a:cubicBezTo>
                  <a:cubicBezTo>
                    <a:pt x="301520" y="1101909"/>
                    <a:pt x="323563" y="1159942"/>
                    <a:pt x="328062" y="1185134"/>
                  </a:cubicBezTo>
                  <a:cubicBezTo>
                    <a:pt x="332561" y="1210326"/>
                    <a:pt x="336610" y="1243617"/>
                    <a:pt x="338409" y="1253064"/>
                  </a:cubicBezTo>
                  <a:cubicBezTo>
                    <a:pt x="340209" y="1262511"/>
                    <a:pt x="349206" y="1303898"/>
                    <a:pt x="353705" y="1319644"/>
                  </a:cubicBezTo>
                  <a:cubicBezTo>
                    <a:pt x="357754" y="1335389"/>
                    <a:pt x="368100" y="1341687"/>
                    <a:pt x="369000" y="1344836"/>
                  </a:cubicBezTo>
                  <a:cubicBezTo>
                    <a:pt x="369900" y="1347985"/>
                    <a:pt x="364051" y="1353383"/>
                    <a:pt x="356404" y="1359682"/>
                  </a:cubicBezTo>
                  <a:cubicBezTo>
                    <a:pt x="348756" y="1365979"/>
                    <a:pt x="350555" y="1369129"/>
                    <a:pt x="349206" y="1375877"/>
                  </a:cubicBezTo>
                  <a:cubicBezTo>
                    <a:pt x="347856" y="1378576"/>
                    <a:pt x="339759" y="1379925"/>
                    <a:pt x="346507" y="1387123"/>
                  </a:cubicBezTo>
                  <a:cubicBezTo>
                    <a:pt x="353255" y="1394321"/>
                    <a:pt x="418035" y="1395221"/>
                    <a:pt x="431531" y="1394321"/>
                  </a:cubicBezTo>
                  <a:cubicBezTo>
                    <a:pt x="444577" y="1393421"/>
                    <a:pt x="458973" y="1395221"/>
                    <a:pt x="461222" y="1391622"/>
                  </a:cubicBezTo>
                  <a:cubicBezTo>
                    <a:pt x="463472" y="1387573"/>
                    <a:pt x="466621" y="1390722"/>
                    <a:pt x="466621" y="1390722"/>
                  </a:cubicBezTo>
                  <a:cubicBezTo>
                    <a:pt x="471569" y="1388473"/>
                    <a:pt x="476968" y="1385774"/>
                    <a:pt x="476968" y="1385774"/>
                  </a:cubicBezTo>
                  <a:cubicBezTo>
                    <a:pt x="476517" y="1372278"/>
                    <a:pt x="475168" y="1366879"/>
                    <a:pt x="474718" y="1361031"/>
                  </a:cubicBezTo>
                  <a:cubicBezTo>
                    <a:pt x="474718" y="1359682"/>
                    <a:pt x="474718" y="1358782"/>
                    <a:pt x="475168" y="1357882"/>
                  </a:cubicBezTo>
                  <a:cubicBezTo>
                    <a:pt x="478317" y="1353833"/>
                    <a:pt x="481916" y="1347985"/>
                    <a:pt x="485965" y="1338988"/>
                  </a:cubicBezTo>
                  <a:cubicBezTo>
                    <a:pt x="490913" y="1326391"/>
                    <a:pt x="479217" y="1318294"/>
                    <a:pt x="475168" y="1309297"/>
                  </a:cubicBezTo>
                  <a:cubicBezTo>
                    <a:pt x="471119" y="1300299"/>
                    <a:pt x="471119" y="1297600"/>
                    <a:pt x="470669" y="1285004"/>
                  </a:cubicBezTo>
                  <a:cubicBezTo>
                    <a:pt x="469769" y="1271958"/>
                    <a:pt x="466171" y="1264310"/>
                    <a:pt x="466171" y="1252614"/>
                  </a:cubicBezTo>
                  <a:cubicBezTo>
                    <a:pt x="465721" y="1240467"/>
                    <a:pt x="461672" y="1235519"/>
                    <a:pt x="461222" y="1221123"/>
                  </a:cubicBezTo>
                  <a:cubicBezTo>
                    <a:pt x="460772" y="1206728"/>
                    <a:pt x="459423" y="1199080"/>
                    <a:pt x="461672" y="1174787"/>
                  </a:cubicBezTo>
                  <a:cubicBezTo>
                    <a:pt x="463921" y="1150495"/>
                    <a:pt x="461672" y="1145996"/>
                    <a:pt x="458973" y="1123503"/>
                  </a:cubicBezTo>
                  <a:cubicBezTo>
                    <a:pt x="457623" y="1111356"/>
                    <a:pt x="453125" y="1091562"/>
                    <a:pt x="447726" y="1071318"/>
                  </a:cubicBezTo>
                  <a:cubicBezTo>
                    <a:pt x="442777" y="1051074"/>
                    <a:pt x="436930" y="1031280"/>
                    <a:pt x="433330" y="1017784"/>
                  </a:cubicBezTo>
                  <a:cubicBezTo>
                    <a:pt x="424783" y="986744"/>
                    <a:pt x="402290" y="951205"/>
                    <a:pt x="397791" y="937259"/>
                  </a:cubicBezTo>
                  <a:cubicBezTo>
                    <a:pt x="396442" y="933210"/>
                    <a:pt x="395092" y="926912"/>
                    <a:pt x="393743" y="920164"/>
                  </a:cubicBezTo>
                  <a:cubicBezTo>
                    <a:pt x="391043" y="898570"/>
                    <a:pt x="386995" y="857183"/>
                    <a:pt x="385645" y="844587"/>
                  </a:cubicBezTo>
                  <a:cubicBezTo>
                    <a:pt x="385195" y="841887"/>
                    <a:pt x="384745" y="839188"/>
                    <a:pt x="384295" y="836489"/>
                  </a:cubicBezTo>
                  <a:cubicBezTo>
                    <a:pt x="382946" y="820294"/>
                    <a:pt x="382046" y="804549"/>
                    <a:pt x="381146" y="797801"/>
                  </a:cubicBezTo>
                  <a:cubicBezTo>
                    <a:pt x="381146" y="797351"/>
                    <a:pt x="381146" y="797351"/>
                    <a:pt x="381146" y="796901"/>
                  </a:cubicBezTo>
                  <a:cubicBezTo>
                    <a:pt x="381146" y="796451"/>
                    <a:pt x="381146" y="796451"/>
                    <a:pt x="381146" y="796001"/>
                  </a:cubicBezTo>
                  <a:cubicBezTo>
                    <a:pt x="384295" y="775307"/>
                    <a:pt x="375748" y="760012"/>
                    <a:pt x="375298" y="751015"/>
                  </a:cubicBezTo>
                  <a:cubicBezTo>
                    <a:pt x="374848" y="743817"/>
                    <a:pt x="373949" y="737519"/>
                    <a:pt x="372149" y="730321"/>
                  </a:cubicBezTo>
                  <a:cubicBezTo>
                    <a:pt x="371249" y="725373"/>
                    <a:pt x="370349" y="720424"/>
                    <a:pt x="369450" y="715925"/>
                  </a:cubicBezTo>
                  <a:cubicBezTo>
                    <a:pt x="366751" y="704229"/>
                    <a:pt x="366751" y="695681"/>
                    <a:pt x="366751" y="695681"/>
                  </a:cubicBezTo>
                  <a:cubicBezTo>
                    <a:pt x="366751" y="695681"/>
                    <a:pt x="381146" y="692532"/>
                    <a:pt x="391043" y="688484"/>
                  </a:cubicBezTo>
                  <a:cubicBezTo>
                    <a:pt x="400491" y="684435"/>
                    <a:pt x="404089" y="679037"/>
                    <a:pt x="412187" y="672289"/>
                  </a:cubicBezTo>
                  <a:cubicBezTo>
                    <a:pt x="420284" y="665990"/>
                    <a:pt x="433780" y="665091"/>
                    <a:pt x="430631" y="652494"/>
                  </a:cubicBezTo>
                  <a:cubicBezTo>
                    <a:pt x="427483" y="640348"/>
                    <a:pt x="399141" y="559372"/>
                    <a:pt x="393743" y="544527"/>
                  </a:cubicBezTo>
                  <a:cubicBezTo>
                    <a:pt x="388344" y="529231"/>
                    <a:pt x="370799" y="485595"/>
                    <a:pt x="367201" y="476597"/>
                  </a:cubicBezTo>
                  <a:cubicBezTo>
                    <a:pt x="364051" y="467150"/>
                    <a:pt x="360003" y="457703"/>
                    <a:pt x="360003" y="446006"/>
                  </a:cubicBezTo>
                  <a:cubicBezTo>
                    <a:pt x="359553" y="434310"/>
                    <a:pt x="361352" y="391573"/>
                    <a:pt x="362702" y="380326"/>
                  </a:cubicBezTo>
                  <a:cubicBezTo>
                    <a:pt x="364502" y="369080"/>
                    <a:pt x="361352" y="351085"/>
                    <a:pt x="365401" y="332191"/>
                  </a:cubicBezTo>
                  <a:cubicBezTo>
                    <a:pt x="369450" y="313296"/>
                    <a:pt x="367201" y="294852"/>
                    <a:pt x="365851" y="286305"/>
                  </a:cubicBezTo>
                  <a:cubicBezTo>
                    <a:pt x="364502" y="277757"/>
                    <a:pt x="361802" y="258863"/>
                    <a:pt x="359553" y="236370"/>
                  </a:cubicBezTo>
                  <a:cubicBezTo>
                    <a:pt x="356853" y="213876"/>
                    <a:pt x="357754" y="190483"/>
                    <a:pt x="330311" y="176088"/>
                  </a:cubicBezTo>
                  <a:cubicBezTo>
                    <a:pt x="302870" y="161692"/>
                    <a:pt x="273629" y="165741"/>
                    <a:pt x="264181" y="165291"/>
                  </a:cubicBezTo>
                  <a:cubicBezTo>
                    <a:pt x="254734" y="164841"/>
                    <a:pt x="238539" y="167540"/>
                    <a:pt x="230442" y="164391"/>
                  </a:cubicBezTo>
                  <a:cubicBezTo>
                    <a:pt x="222344" y="161242"/>
                    <a:pt x="211997" y="153595"/>
                    <a:pt x="208398" y="151345"/>
                  </a:cubicBezTo>
                  <a:cubicBezTo>
                    <a:pt x="205249" y="148646"/>
                    <a:pt x="204800" y="153145"/>
                    <a:pt x="205249" y="141898"/>
                  </a:cubicBezTo>
                  <a:cubicBezTo>
                    <a:pt x="205699" y="131101"/>
                    <a:pt x="204800" y="117156"/>
                    <a:pt x="203900" y="108608"/>
                  </a:cubicBezTo>
                  <a:cubicBezTo>
                    <a:pt x="203000" y="100061"/>
                    <a:pt x="199851" y="93763"/>
                    <a:pt x="199851" y="90164"/>
                  </a:cubicBezTo>
                  <a:cubicBezTo>
                    <a:pt x="199851" y="84765"/>
                    <a:pt x="202100" y="85665"/>
                    <a:pt x="201650" y="82516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1" name="任意多边形: 形状 9850">
              <a:extLst>
                <a:ext uri="{FF2B5EF4-FFF2-40B4-BE49-F238E27FC236}">
                  <a16:creationId xmlns:a16="http://schemas.microsoft.com/office/drawing/2014/main" id="{997437CA-F0AE-4117-B95A-D116F2643CE2}"/>
                </a:ext>
              </a:extLst>
            </p:cNvPr>
            <p:cNvSpPr/>
            <p:nvPr/>
          </p:nvSpPr>
          <p:spPr>
            <a:xfrm>
              <a:off x="9592679" y="5306834"/>
              <a:ext cx="12439" cy="6220"/>
            </a:xfrm>
            <a:custGeom>
              <a:avLst/>
              <a:gdLst>
                <a:gd name="connsiteX0" fmla="*/ 5623 w 8997"/>
                <a:gd name="connsiteY0" fmla="*/ 3374 h 4498"/>
                <a:gd name="connsiteX1" fmla="*/ 3374 w 8997"/>
                <a:gd name="connsiteY1" fmla="*/ 3374 h 4498"/>
                <a:gd name="connsiteX2" fmla="*/ 5623 w 8997"/>
                <a:gd name="connsiteY2" fmla="*/ 3374 h 4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97" h="4498">
                  <a:moveTo>
                    <a:pt x="5623" y="3374"/>
                  </a:moveTo>
                  <a:cubicBezTo>
                    <a:pt x="4273" y="3374"/>
                    <a:pt x="3374" y="3374"/>
                    <a:pt x="3374" y="3374"/>
                  </a:cubicBezTo>
                  <a:cubicBezTo>
                    <a:pt x="3374" y="3374"/>
                    <a:pt x="4273" y="3374"/>
                    <a:pt x="5623" y="337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2" name="任意多边形: 形状 9851">
              <a:extLst>
                <a:ext uri="{FF2B5EF4-FFF2-40B4-BE49-F238E27FC236}">
                  <a16:creationId xmlns:a16="http://schemas.microsoft.com/office/drawing/2014/main" id="{E03D960F-C534-49E9-A377-871496463E53}"/>
                </a:ext>
              </a:extLst>
            </p:cNvPr>
            <p:cNvSpPr/>
            <p:nvPr/>
          </p:nvSpPr>
          <p:spPr>
            <a:xfrm>
              <a:off x="6971816" y="4263428"/>
              <a:ext cx="447820" cy="1971655"/>
            </a:xfrm>
            <a:custGeom>
              <a:avLst/>
              <a:gdLst>
                <a:gd name="connsiteX0" fmla="*/ 4179 w 323902"/>
                <a:gd name="connsiteY0" fmla="*/ 405362 h 1426070"/>
                <a:gd name="connsiteX1" fmla="*/ 14526 w 323902"/>
                <a:gd name="connsiteY1" fmla="*/ 474641 h 1426070"/>
                <a:gd name="connsiteX2" fmla="*/ 15875 w 323902"/>
                <a:gd name="connsiteY2" fmla="*/ 478690 h 1426070"/>
                <a:gd name="connsiteX3" fmla="*/ 31621 w 323902"/>
                <a:gd name="connsiteY3" fmla="*/ 502983 h 1426070"/>
                <a:gd name="connsiteX4" fmla="*/ 47816 w 323902"/>
                <a:gd name="connsiteY4" fmla="*/ 505232 h 1426070"/>
                <a:gd name="connsiteX5" fmla="*/ 58613 w 323902"/>
                <a:gd name="connsiteY5" fmla="*/ 496235 h 1426070"/>
                <a:gd name="connsiteX6" fmla="*/ 62211 w 323902"/>
                <a:gd name="connsiteY6" fmla="*/ 501633 h 1426070"/>
                <a:gd name="connsiteX7" fmla="*/ 62211 w 323902"/>
                <a:gd name="connsiteY7" fmla="*/ 501633 h 1426070"/>
                <a:gd name="connsiteX8" fmla="*/ 62661 w 323902"/>
                <a:gd name="connsiteY8" fmla="*/ 503432 h 1426070"/>
                <a:gd name="connsiteX9" fmla="*/ 77507 w 323902"/>
                <a:gd name="connsiteY9" fmla="*/ 513329 h 1426070"/>
                <a:gd name="connsiteX10" fmla="*/ 74808 w 323902"/>
                <a:gd name="connsiteY10" fmla="*/ 518728 h 1426070"/>
                <a:gd name="connsiteX11" fmla="*/ 68959 w 323902"/>
                <a:gd name="connsiteY11" fmla="*/ 533123 h 1426070"/>
                <a:gd name="connsiteX12" fmla="*/ 70759 w 323902"/>
                <a:gd name="connsiteY12" fmla="*/ 544820 h 1426070"/>
                <a:gd name="connsiteX13" fmla="*/ 68510 w 323902"/>
                <a:gd name="connsiteY13" fmla="*/ 549319 h 1426070"/>
                <a:gd name="connsiteX14" fmla="*/ 68060 w 323902"/>
                <a:gd name="connsiteY14" fmla="*/ 549768 h 1426070"/>
                <a:gd name="connsiteX15" fmla="*/ 45567 w 323902"/>
                <a:gd name="connsiteY15" fmla="*/ 659535 h 1426070"/>
                <a:gd name="connsiteX16" fmla="*/ 41968 w 323902"/>
                <a:gd name="connsiteY16" fmla="*/ 848928 h 1426070"/>
                <a:gd name="connsiteX17" fmla="*/ 46466 w 323902"/>
                <a:gd name="connsiteY17" fmla="*/ 862874 h 1426070"/>
                <a:gd name="connsiteX18" fmla="*/ 77507 w 323902"/>
                <a:gd name="connsiteY18" fmla="*/ 868722 h 1426070"/>
                <a:gd name="connsiteX19" fmla="*/ 98201 w 323902"/>
                <a:gd name="connsiteY19" fmla="*/ 987486 h 1426070"/>
                <a:gd name="connsiteX20" fmla="*/ 60862 w 323902"/>
                <a:gd name="connsiteY20" fmla="*/ 1081958 h 1426070"/>
                <a:gd name="connsiteX21" fmla="*/ 52315 w 323902"/>
                <a:gd name="connsiteY21" fmla="*/ 1226814 h 1426070"/>
                <a:gd name="connsiteX22" fmla="*/ 53664 w 323902"/>
                <a:gd name="connsiteY22" fmla="*/ 1287996 h 1426070"/>
                <a:gd name="connsiteX23" fmla="*/ 41968 w 323902"/>
                <a:gd name="connsiteY23" fmla="*/ 1329384 h 1426070"/>
                <a:gd name="connsiteX24" fmla="*/ 37469 w 323902"/>
                <a:gd name="connsiteY24" fmla="*/ 1335232 h 1426070"/>
                <a:gd name="connsiteX25" fmla="*/ 23523 w 323902"/>
                <a:gd name="connsiteY25" fmla="*/ 1373020 h 1426070"/>
                <a:gd name="connsiteX26" fmla="*/ 37469 w 323902"/>
                <a:gd name="connsiteY26" fmla="*/ 1426104 h 1426070"/>
                <a:gd name="connsiteX27" fmla="*/ 45567 w 323902"/>
                <a:gd name="connsiteY27" fmla="*/ 1428354 h 1426070"/>
                <a:gd name="connsiteX28" fmla="*/ 52315 w 323902"/>
                <a:gd name="connsiteY28" fmla="*/ 1420256 h 1426070"/>
                <a:gd name="connsiteX29" fmla="*/ 75707 w 323902"/>
                <a:gd name="connsiteY29" fmla="*/ 1427454 h 1426070"/>
                <a:gd name="connsiteX30" fmla="*/ 132391 w 323902"/>
                <a:gd name="connsiteY30" fmla="*/ 1427454 h 1426070"/>
                <a:gd name="connsiteX31" fmla="*/ 149036 w 323902"/>
                <a:gd name="connsiteY31" fmla="*/ 1413059 h 1426070"/>
                <a:gd name="connsiteX32" fmla="*/ 133740 w 323902"/>
                <a:gd name="connsiteY32" fmla="*/ 1396863 h 1426070"/>
                <a:gd name="connsiteX33" fmla="*/ 124743 w 323902"/>
                <a:gd name="connsiteY33" fmla="*/ 1390115 h 1426070"/>
                <a:gd name="connsiteX34" fmla="*/ 111247 w 323902"/>
                <a:gd name="connsiteY34" fmla="*/ 1372121 h 1426070"/>
                <a:gd name="connsiteX35" fmla="*/ 98201 w 323902"/>
                <a:gd name="connsiteY35" fmla="*/ 1278999 h 1426070"/>
                <a:gd name="connsiteX36" fmla="*/ 131041 w 323902"/>
                <a:gd name="connsiteY36" fmla="*/ 1141340 h 1426070"/>
                <a:gd name="connsiteX37" fmla="*/ 144087 w 323902"/>
                <a:gd name="connsiteY37" fmla="*/ 1077909 h 1426070"/>
                <a:gd name="connsiteX38" fmla="*/ 159382 w 323902"/>
                <a:gd name="connsiteY38" fmla="*/ 1046419 h 1426070"/>
                <a:gd name="connsiteX39" fmla="*/ 162081 w 323902"/>
                <a:gd name="connsiteY39" fmla="*/ 1059015 h 1426070"/>
                <a:gd name="connsiteX40" fmla="*/ 151285 w 323902"/>
                <a:gd name="connsiteY40" fmla="*/ 1154386 h 1426070"/>
                <a:gd name="connsiteX41" fmla="*/ 149935 w 323902"/>
                <a:gd name="connsiteY41" fmla="*/ 1278999 h 1426070"/>
                <a:gd name="connsiteX42" fmla="*/ 141388 w 323902"/>
                <a:gd name="connsiteY42" fmla="*/ 1327134 h 1426070"/>
                <a:gd name="connsiteX43" fmla="*/ 135989 w 323902"/>
                <a:gd name="connsiteY43" fmla="*/ 1336582 h 1426070"/>
                <a:gd name="connsiteX44" fmla="*/ 130591 w 323902"/>
                <a:gd name="connsiteY44" fmla="*/ 1371221 h 1426070"/>
                <a:gd name="connsiteX45" fmla="*/ 153084 w 323902"/>
                <a:gd name="connsiteY45" fmla="*/ 1421606 h 1426070"/>
                <a:gd name="connsiteX46" fmla="*/ 164781 w 323902"/>
                <a:gd name="connsiteY46" fmla="*/ 1422956 h 1426070"/>
                <a:gd name="connsiteX47" fmla="*/ 167030 w 323902"/>
                <a:gd name="connsiteY47" fmla="*/ 1416208 h 1426070"/>
                <a:gd name="connsiteX48" fmla="*/ 179626 w 323902"/>
                <a:gd name="connsiteY48" fmla="*/ 1423405 h 1426070"/>
                <a:gd name="connsiteX49" fmla="*/ 231810 w 323902"/>
                <a:gd name="connsiteY49" fmla="*/ 1423405 h 1426070"/>
                <a:gd name="connsiteX50" fmla="*/ 239908 w 323902"/>
                <a:gd name="connsiteY50" fmla="*/ 1415308 h 1426070"/>
                <a:gd name="connsiteX51" fmla="*/ 215165 w 323902"/>
                <a:gd name="connsiteY51" fmla="*/ 1387866 h 1426070"/>
                <a:gd name="connsiteX52" fmla="*/ 213366 w 323902"/>
                <a:gd name="connsiteY52" fmla="*/ 1385167 h 1426070"/>
                <a:gd name="connsiteX53" fmla="*/ 195372 w 323902"/>
                <a:gd name="connsiteY53" fmla="*/ 1331183 h 1426070"/>
                <a:gd name="connsiteX54" fmla="*/ 213366 w 323902"/>
                <a:gd name="connsiteY54" fmla="*/ 1204321 h 1426070"/>
                <a:gd name="connsiteX55" fmla="*/ 233610 w 323902"/>
                <a:gd name="connsiteY55" fmla="*/ 1048668 h 1426070"/>
                <a:gd name="connsiteX56" fmla="*/ 239458 w 323902"/>
                <a:gd name="connsiteY56" fmla="*/ 1020327 h 1426070"/>
                <a:gd name="connsiteX57" fmla="*/ 242157 w 323902"/>
                <a:gd name="connsiteY57" fmla="*/ 987037 h 1426070"/>
                <a:gd name="connsiteX58" fmla="*/ 269599 w 323902"/>
                <a:gd name="connsiteY58" fmla="*/ 890766 h 1426070"/>
                <a:gd name="connsiteX59" fmla="*/ 271398 w 323902"/>
                <a:gd name="connsiteY59" fmla="*/ 890766 h 1426070"/>
                <a:gd name="connsiteX60" fmla="*/ 303789 w 323902"/>
                <a:gd name="connsiteY60" fmla="*/ 889416 h 1426070"/>
                <a:gd name="connsiteX61" fmla="*/ 301539 w 323902"/>
                <a:gd name="connsiteY61" fmla="*/ 846679 h 1426070"/>
                <a:gd name="connsiteX62" fmla="*/ 301090 w 323902"/>
                <a:gd name="connsiteY62" fmla="*/ 798094 h 1426070"/>
                <a:gd name="connsiteX63" fmla="*/ 318185 w 323902"/>
                <a:gd name="connsiteY63" fmla="*/ 787297 h 1426070"/>
                <a:gd name="connsiteX64" fmla="*/ 320884 w 323902"/>
                <a:gd name="connsiteY64" fmla="*/ 771102 h 1426070"/>
                <a:gd name="connsiteX65" fmla="*/ 321783 w 323902"/>
                <a:gd name="connsiteY65" fmla="*/ 758056 h 1426070"/>
                <a:gd name="connsiteX66" fmla="*/ 324483 w 323902"/>
                <a:gd name="connsiteY66" fmla="*/ 748159 h 1426070"/>
                <a:gd name="connsiteX67" fmla="*/ 322233 w 323902"/>
                <a:gd name="connsiteY67" fmla="*/ 723416 h 1426070"/>
                <a:gd name="connsiteX68" fmla="*/ 322233 w 323902"/>
                <a:gd name="connsiteY68" fmla="*/ 675281 h 1426070"/>
                <a:gd name="connsiteX69" fmla="*/ 309637 w 323902"/>
                <a:gd name="connsiteY69" fmla="*/ 628495 h 1426070"/>
                <a:gd name="connsiteX70" fmla="*/ 301090 w 323902"/>
                <a:gd name="connsiteY70" fmla="*/ 577210 h 1426070"/>
                <a:gd name="connsiteX71" fmla="*/ 299740 w 323902"/>
                <a:gd name="connsiteY71" fmla="*/ 557866 h 1426070"/>
                <a:gd name="connsiteX72" fmla="*/ 301090 w 323902"/>
                <a:gd name="connsiteY72" fmla="*/ 546619 h 1426070"/>
                <a:gd name="connsiteX73" fmla="*/ 295242 w 323902"/>
                <a:gd name="connsiteY73" fmla="*/ 521427 h 1426070"/>
                <a:gd name="connsiteX74" fmla="*/ 298390 w 323902"/>
                <a:gd name="connsiteY74" fmla="*/ 512879 h 1426070"/>
                <a:gd name="connsiteX75" fmla="*/ 295691 w 323902"/>
                <a:gd name="connsiteY75" fmla="*/ 495785 h 1426070"/>
                <a:gd name="connsiteX76" fmla="*/ 297941 w 323902"/>
                <a:gd name="connsiteY76" fmla="*/ 395915 h 1426070"/>
                <a:gd name="connsiteX77" fmla="*/ 298840 w 323902"/>
                <a:gd name="connsiteY77" fmla="*/ 314039 h 1426070"/>
                <a:gd name="connsiteX78" fmla="*/ 244407 w 323902"/>
                <a:gd name="connsiteY78" fmla="*/ 244760 h 1426070"/>
                <a:gd name="connsiteX79" fmla="*/ 243957 w 323902"/>
                <a:gd name="connsiteY79" fmla="*/ 237563 h 1426070"/>
                <a:gd name="connsiteX80" fmla="*/ 240358 w 323902"/>
                <a:gd name="connsiteY80" fmla="*/ 227215 h 1426070"/>
                <a:gd name="connsiteX81" fmla="*/ 234060 w 323902"/>
                <a:gd name="connsiteY81" fmla="*/ 198874 h 1426070"/>
                <a:gd name="connsiteX82" fmla="*/ 237659 w 323902"/>
                <a:gd name="connsiteY82" fmla="*/ 196175 h 1426070"/>
                <a:gd name="connsiteX83" fmla="*/ 251605 w 323902"/>
                <a:gd name="connsiteY83" fmla="*/ 192126 h 1426070"/>
                <a:gd name="connsiteX84" fmla="*/ 253404 w 323902"/>
                <a:gd name="connsiteY84" fmla="*/ 180430 h 1426070"/>
                <a:gd name="connsiteX85" fmla="*/ 258353 w 323902"/>
                <a:gd name="connsiteY85" fmla="*/ 167834 h 1426070"/>
                <a:gd name="connsiteX86" fmla="*/ 261052 w 323902"/>
                <a:gd name="connsiteY86" fmla="*/ 159736 h 1426070"/>
                <a:gd name="connsiteX87" fmla="*/ 263751 w 323902"/>
                <a:gd name="connsiteY87" fmla="*/ 151188 h 1426070"/>
                <a:gd name="connsiteX88" fmla="*/ 270499 w 323902"/>
                <a:gd name="connsiteY88" fmla="*/ 125096 h 1426070"/>
                <a:gd name="connsiteX89" fmla="*/ 267800 w 323902"/>
                <a:gd name="connsiteY89" fmla="*/ 108451 h 1426070"/>
                <a:gd name="connsiteX90" fmla="*/ 270049 w 323902"/>
                <a:gd name="connsiteY90" fmla="*/ 98104 h 1426070"/>
                <a:gd name="connsiteX91" fmla="*/ 269149 w 323902"/>
                <a:gd name="connsiteY91" fmla="*/ 80560 h 1426070"/>
                <a:gd name="connsiteX92" fmla="*/ 267800 w 323902"/>
                <a:gd name="connsiteY92" fmla="*/ 59416 h 1426070"/>
                <a:gd name="connsiteX93" fmla="*/ 266450 w 323902"/>
                <a:gd name="connsiteY93" fmla="*/ 41871 h 1426070"/>
                <a:gd name="connsiteX94" fmla="*/ 226412 w 323902"/>
                <a:gd name="connsiteY94" fmla="*/ 9931 h 1426070"/>
                <a:gd name="connsiteX95" fmla="*/ 124293 w 323902"/>
                <a:gd name="connsiteY95" fmla="*/ 39172 h 1426070"/>
                <a:gd name="connsiteX96" fmla="*/ 106748 w 323902"/>
                <a:gd name="connsiteY96" fmla="*/ 110701 h 1426070"/>
                <a:gd name="connsiteX97" fmla="*/ 97301 w 323902"/>
                <a:gd name="connsiteY97" fmla="*/ 179080 h 1426070"/>
                <a:gd name="connsiteX98" fmla="*/ 100000 w 323902"/>
                <a:gd name="connsiteY98" fmla="*/ 196625 h 1426070"/>
                <a:gd name="connsiteX99" fmla="*/ 108548 w 323902"/>
                <a:gd name="connsiteY99" fmla="*/ 197974 h 1426070"/>
                <a:gd name="connsiteX100" fmla="*/ 106298 w 323902"/>
                <a:gd name="connsiteY100" fmla="*/ 197075 h 1426070"/>
                <a:gd name="connsiteX101" fmla="*/ 84705 w 323902"/>
                <a:gd name="connsiteY101" fmla="*/ 205622 h 1426070"/>
                <a:gd name="connsiteX102" fmla="*/ 36119 w 323902"/>
                <a:gd name="connsiteY102" fmla="*/ 230815 h 1426070"/>
                <a:gd name="connsiteX103" fmla="*/ 9128 w 323902"/>
                <a:gd name="connsiteY103" fmla="*/ 283448 h 1426070"/>
                <a:gd name="connsiteX104" fmla="*/ 9578 w 323902"/>
                <a:gd name="connsiteY104" fmla="*/ 354527 h 1426070"/>
                <a:gd name="connsiteX105" fmla="*/ 4179 w 323902"/>
                <a:gd name="connsiteY105" fmla="*/ 405362 h 1426070"/>
                <a:gd name="connsiteX106" fmla="*/ 84255 w 323902"/>
                <a:gd name="connsiteY106" fmla="*/ 507481 h 1426070"/>
                <a:gd name="connsiteX107" fmla="*/ 84255 w 323902"/>
                <a:gd name="connsiteY107" fmla="*/ 507481 h 1426070"/>
                <a:gd name="connsiteX108" fmla="*/ 84255 w 323902"/>
                <a:gd name="connsiteY108" fmla="*/ 507481 h 1426070"/>
                <a:gd name="connsiteX109" fmla="*/ 84255 w 323902"/>
                <a:gd name="connsiteY109" fmla="*/ 507481 h 1426070"/>
                <a:gd name="connsiteX110" fmla="*/ 84255 w 323902"/>
                <a:gd name="connsiteY110" fmla="*/ 507481 h 1426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323902" h="1426070">
                  <a:moveTo>
                    <a:pt x="4179" y="405362"/>
                  </a:moveTo>
                  <a:cubicBezTo>
                    <a:pt x="1480" y="422007"/>
                    <a:pt x="-3019" y="435053"/>
                    <a:pt x="14526" y="474641"/>
                  </a:cubicBezTo>
                  <a:cubicBezTo>
                    <a:pt x="14526" y="474641"/>
                    <a:pt x="14526" y="476440"/>
                    <a:pt x="15875" y="478690"/>
                  </a:cubicBezTo>
                  <a:cubicBezTo>
                    <a:pt x="16326" y="480489"/>
                    <a:pt x="25773" y="500283"/>
                    <a:pt x="31621" y="502983"/>
                  </a:cubicBezTo>
                  <a:cubicBezTo>
                    <a:pt x="37469" y="505682"/>
                    <a:pt x="43317" y="509731"/>
                    <a:pt x="47816" y="505232"/>
                  </a:cubicBezTo>
                  <a:cubicBezTo>
                    <a:pt x="51415" y="501633"/>
                    <a:pt x="55463" y="498484"/>
                    <a:pt x="58613" y="496235"/>
                  </a:cubicBezTo>
                  <a:cubicBezTo>
                    <a:pt x="59512" y="497584"/>
                    <a:pt x="60862" y="499833"/>
                    <a:pt x="62211" y="501633"/>
                  </a:cubicBezTo>
                  <a:cubicBezTo>
                    <a:pt x="62211" y="501633"/>
                    <a:pt x="62211" y="501633"/>
                    <a:pt x="62211" y="501633"/>
                  </a:cubicBezTo>
                  <a:cubicBezTo>
                    <a:pt x="62211" y="502083"/>
                    <a:pt x="62211" y="502533"/>
                    <a:pt x="62661" y="503432"/>
                  </a:cubicBezTo>
                  <a:cubicBezTo>
                    <a:pt x="62661" y="503432"/>
                    <a:pt x="75258" y="512430"/>
                    <a:pt x="77507" y="513329"/>
                  </a:cubicBezTo>
                  <a:cubicBezTo>
                    <a:pt x="76607" y="515129"/>
                    <a:pt x="76157" y="516928"/>
                    <a:pt x="74808" y="518728"/>
                  </a:cubicBezTo>
                  <a:cubicBezTo>
                    <a:pt x="71209" y="523226"/>
                    <a:pt x="68959" y="527275"/>
                    <a:pt x="68959" y="533123"/>
                  </a:cubicBezTo>
                  <a:cubicBezTo>
                    <a:pt x="68959" y="537622"/>
                    <a:pt x="71659" y="540321"/>
                    <a:pt x="70759" y="544820"/>
                  </a:cubicBezTo>
                  <a:cubicBezTo>
                    <a:pt x="70309" y="545720"/>
                    <a:pt x="69409" y="547519"/>
                    <a:pt x="68510" y="549319"/>
                  </a:cubicBezTo>
                  <a:cubicBezTo>
                    <a:pt x="68510" y="549319"/>
                    <a:pt x="68510" y="549768"/>
                    <a:pt x="68060" y="549768"/>
                  </a:cubicBezTo>
                  <a:cubicBezTo>
                    <a:pt x="62211" y="557866"/>
                    <a:pt x="45567" y="598354"/>
                    <a:pt x="45567" y="659535"/>
                  </a:cubicBezTo>
                  <a:cubicBezTo>
                    <a:pt x="45567" y="720717"/>
                    <a:pt x="43317" y="830034"/>
                    <a:pt x="41968" y="848928"/>
                  </a:cubicBezTo>
                  <a:cubicBezTo>
                    <a:pt x="41968" y="848928"/>
                    <a:pt x="40618" y="859275"/>
                    <a:pt x="46466" y="862874"/>
                  </a:cubicBezTo>
                  <a:cubicBezTo>
                    <a:pt x="46466" y="862874"/>
                    <a:pt x="56813" y="869622"/>
                    <a:pt x="77507" y="868722"/>
                  </a:cubicBezTo>
                  <a:cubicBezTo>
                    <a:pt x="83805" y="888966"/>
                    <a:pt x="94152" y="929904"/>
                    <a:pt x="98201" y="987486"/>
                  </a:cubicBezTo>
                  <a:cubicBezTo>
                    <a:pt x="99100" y="1001432"/>
                    <a:pt x="75707" y="1034722"/>
                    <a:pt x="60862" y="1081958"/>
                  </a:cubicBezTo>
                  <a:cubicBezTo>
                    <a:pt x="46466" y="1129194"/>
                    <a:pt x="49166" y="1193525"/>
                    <a:pt x="52315" y="1226814"/>
                  </a:cubicBezTo>
                  <a:cubicBezTo>
                    <a:pt x="55014" y="1260105"/>
                    <a:pt x="59063" y="1273601"/>
                    <a:pt x="53664" y="1287996"/>
                  </a:cubicBezTo>
                  <a:cubicBezTo>
                    <a:pt x="48716" y="1302392"/>
                    <a:pt x="45117" y="1325335"/>
                    <a:pt x="41968" y="1329384"/>
                  </a:cubicBezTo>
                  <a:cubicBezTo>
                    <a:pt x="41068" y="1330283"/>
                    <a:pt x="39718" y="1332533"/>
                    <a:pt x="37469" y="1335232"/>
                  </a:cubicBezTo>
                  <a:cubicBezTo>
                    <a:pt x="30721" y="1344229"/>
                    <a:pt x="19924" y="1361324"/>
                    <a:pt x="23523" y="1373020"/>
                  </a:cubicBezTo>
                  <a:cubicBezTo>
                    <a:pt x="28472" y="1388316"/>
                    <a:pt x="39718" y="1404511"/>
                    <a:pt x="37469" y="1426104"/>
                  </a:cubicBezTo>
                  <a:lnTo>
                    <a:pt x="45567" y="1428354"/>
                  </a:lnTo>
                  <a:cubicBezTo>
                    <a:pt x="45567" y="1428354"/>
                    <a:pt x="46916" y="1419806"/>
                    <a:pt x="52315" y="1420256"/>
                  </a:cubicBezTo>
                  <a:cubicBezTo>
                    <a:pt x="57263" y="1421156"/>
                    <a:pt x="67610" y="1425205"/>
                    <a:pt x="75707" y="1427454"/>
                  </a:cubicBezTo>
                  <a:cubicBezTo>
                    <a:pt x="83805" y="1429704"/>
                    <a:pt x="132391" y="1427454"/>
                    <a:pt x="132391" y="1427454"/>
                  </a:cubicBezTo>
                  <a:cubicBezTo>
                    <a:pt x="132391" y="1427454"/>
                    <a:pt x="148586" y="1417107"/>
                    <a:pt x="149036" y="1413059"/>
                  </a:cubicBezTo>
                  <a:cubicBezTo>
                    <a:pt x="149935" y="1408560"/>
                    <a:pt x="139588" y="1402262"/>
                    <a:pt x="133740" y="1396863"/>
                  </a:cubicBezTo>
                  <a:cubicBezTo>
                    <a:pt x="131491" y="1395064"/>
                    <a:pt x="128342" y="1392815"/>
                    <a:pt x="124743" y="1390115"/>
                  </a:cubicBezTo>
                  <a:cubicBezTo>
                    <a:pt x="119344" y="1386067"/>
                    <a:pt x="113946" y="1380668"/>
                    <a:pt x="111247" y="1372121"/>
                  </a:cubicBezTo>
                  <a:cubicBezTo>
                    <a:pt x="106748" y="1358175"/>
                    <a:pt x="97301" y="1319937"/>
                    <a:pt x="98201" y="1278999"/>
                  </a:cubicBezTo>
                  <a:cubicBezTo>
                    <a:pt x="99100" y="1238061"/>
                    <a:pt x="125643" y="1164733"/>
                    <a:pt x="131041" y="1141340"/>
                  </a:cubicBezTo>
                  <a:cubicBezTo>
                    <a:pt x="135989" y="1117947"/>
                    <a:pt x="140488" y="1084657"/>
                    <a:pt x="144087" y="1077909"/>
                  </a:cubicBezTo>
                  <a:cubicBezTo>
                    <a:pt x="147686" y="1071161"/>
                    <a:pt x="156683" y="1049568"/>
                    <a:pt x="159382" y="1046419"/>
                  </a:cubicBezTo>
                  <a:cubicBezTo>
                    <a:pt x="162081" y="1043720"/>
                    <a:pt x="164331" y="1050918"/>
                    <a:pt x="162081" y="1059015"/>
                  </a:cubicBezTo>
                  <a:cubicBezTo>
                    <a:pt x="159832" y="1067113"/>
                    <a:pt x="150385" y="1126045"/>
                    <a:pt x="151285" y="1154386"/>
                  </a:cubicBezTo>
                  <a:cubicBezTo>
                    <a:pt x="152184" y="1182728"/>
                    <a:pt x="150385" y="1256506"/>
                    <a:pt x="149935" y="1278999"/>
                  </a:cubicBezTo>
                  <a:cubicBezTo>
                    <a:pt x="149036" y="1301492"/>
                    <a:pt x="147236" y="1318137"/>
                    <a:pt x="141388" y="1327134"/>
                  </a:cubicBezTo>
                  <a:cubicBezTo>
                    <a:pt x="139588" y="1329384"/>
                    <a:pt x="137789" y="1332983"/>
                    <a:pt x="135989" y="1336582"/>
                  </a:cubicBezTo>
                  <a:cubicBezTo>
                    <a:pt x="130591" y="1346928"/>
                    <a:pt x="126092" y="1360874"/>
                    <a:pt x="130591" y="1371221"/>
                  </a:cubicBezTo>
                  <a:cubicBezTo>
                    <a:pt x="137339" y="1385617"/>
                    <a:pt x="150385" y="1400912"/>
                    <a:pt x="153084" y="1421606"/>
                  </a:cubicBezTo>
                  <a:lnTo>
                    <a:pt x="164781" y="1422956"/>
                  </a:lnTo>
                  <a:cubicBezTo>
                    <a:pt x="164781" y="1422956"/>
                    <a:pt x="164781" y="1415758"/>
                    <a:pt x="167030" y="1416208"/>
                  </a:cubicBezTo>
                  <a:cubicBezTo>
                    <a:pt x="169279" y="1417107"/>
                    <a:pt x="169279" y="1422956"/>
                    <a:pt x="179626" y="1423405"/>
                  </a:cubicBezTo>
                  <a:cubicBezTo>
                    <a:pt x="189973" y="1424305"/>
                    <a:pt x="230011" y="1422506"/>
                    <a:pt x="231810" y="1423405"/>
                  </a:cubicBezTo>
                  <a:cubicBezTo>
                    <a:pt x="234060" y="1424305"/>
                    <a:pt x="239008" y="1420706"/>
                    <a:pt x="239908" y="1415308"/>
                  </a:cubicBezTo>
                  <a:cubicBezTo>
                    <a:pt x="240358" y="1410809"/>
                    <a:pt x="222363" y="1398213"/>
                    <a:pt x="215165" y="1387866"/>
                  </a:cubicBezTo>
                  <a:cubicBezTo>
                    <a:pt x="214716" y="1386966"/>
                    <a:pt x="213816" y="1386067"/>
                    <a:pt x="213366" y="1385167"/>
                  </a:cubicBezTo>
                  <a:cubicBezTo>
                    <a:pt x="208417" y="1374820"/>
                    <a:pt x="194472" y="1356825"/>
                    <a:pt x="195372" y="1331183"/>
                  </a:cubicBezTo>
                  <a:cubicBezTo>
                    <a:pt x="196271" y="1305541"/>
                    <a:pt x="197621" y="1281698"/>
                    <a:pt x="213366" y="1204321"/>
                  </a:cubicBezTo>
                  <a:cubicBezTo>
                    <a:pt x="229561" y="1126945"/>
                    <a:pt x="236759" y="1111199"/>
                    <a:pt x="233610" y="1048668"/>
                  </a:cubicBezTo>
                  <a:cubicBezTo>
                    <a:pt x="233610" y="1048668"/>
                    <a:pt x="236309" y="1032473"/>
                    <a:pt x="239458" y="1020327"/>
                  </a:cubicBezTo>
                  <a:cubicBezTo>
                    <a:pt x="242157" y="1007730"/>
                    <a:pt x="238109" y="997834"/>
                    <a:pt x="242157" y="987037"/>
                  </a:cubicBezTo>
                  <a:cubicBezTo>
                    <a:pt x="246206" y="977140"/>
                    <a:pt x="263301" y="915958"/>
                    <a:pt x="269599" y="890766"/>
                  </a:cubicBezTo>
                  <a:cubicBezTo>
                    <a:pt x="270049" y="890766"/>
                    <a:pt x="270499" y="890766"/>
                    <a:pt x="271398" y="890766"/>
                  </a:cubicBezTo>
                  <a:cubicBezTo>
                    <a:pt x="279046" y="892115"/>
                    <a:pt x="294791" y="893465"/>
                    <a:pt x="303789" y="889416"/>
                  </a:cubicBezTo>
                  <a:cubicBezTo>
                    <a:pt x="303789" y="889416"/>
                    <a:pt x="302889" y="879069"/>
                    <a:pt x="301539" y="846679"/>
                  </a:cubicBezTo>
                  <a:cubicBezTo>
                    <a:pt x="301090" y="836332"/>
                    <a:pt x="301090" y="818787"/>
                    <a:pt x="301090" y="798094"/>
                  </a:cubicBezTo>
                  <a:cubicBezTo>
                    <a:pt x="310987" y="793145"/>
                    <a:pt x="315485" y="790446"/>
                    <a:pt x="318185" y="787297"/>
                  </a:cubicBezTo>
                  <a:cubicBezTo>
                    <a:pt x="321334" y="782798"/>
                    <a:pt x="322233" y="775151"/>
                    <a:pt x="320884" y="771102"/>
                  </a:cubicBezTo>
                  <a:cubicBezTo>
                    <a:pt x="319984" y="766603"/>
                    <a:pt x="320884" y="759855"/>
                    <a:pt x="321783" y="758056"/>
                  </a:cubicBezTo>
                  <a:cubicBezTo>
                    <a:pt x="322683" y="756256"/>
                    <a:pt x="325382" y="752207"/>
                    <a:pt x="324483" y="748159"/>
                  </a:cubicBezTo>
                  <a:cubicBezTo>
                    <a:pt x="323583" y="744110"/>
                    <a:pt x="322683" y="735562"/>
                    <a:pt x="322233" y="723416"/>
                  </a:cubicBezTo>
                  <a:cubicBezTo>
                    <a:pt x="321783" y="711270"/>
                    <a:pt x="322233" y="675281"/>
                    <a:pt x="322233" y="675281"/>
                  </a:cubicBezTo>
                  <a:cubicBezTo>
                    <a:pt x="318634" y="664484"/>
                    <a:pt x="312786" y="644240"/>
                    <a:pt x="309637" y="628495"/>
                  </a:cubicBezTo>
                  <a:cubicBezTo>
                    <a:pt x="306488" y="612749"/>
                    <a:pt x="301090" y="577210"/>
                    <a:pt x="301090" y="577210"/>
                  </a:cubicBezTo>
                  <a:cubicBezTo>
                    <a:pt x="299290" y="570012"/>
                    <a:pt x="299290" y="562364"/>
                    <a:pt x="299740" y="557866"/>
                  </a:cubicBezTo>
                  <a:cubicBezTo>
                    <a:pt x="300640" y="558316"/>
                    <a:pt x="303789" y="559216"/>
                    <a:pt x="301090" y="546619"/>
                  </a:cubicBezTo>
                  <a:cubicBezTo>
                    <a:pt x="298390" y="531774"/>
                    <a:pt x="296141" y="525026"/>
                    <a:pt x="295242" y="521427"/>
                  </a:cubicBezTo>
                  <a:cubicBezTo>
                    <a:pt x="294342" y="517828"/>
                    <a:pt x="297941" y="516479"/>
                    <a:pt x="298390" y="512879"/>
                  </a:cubicBezTo>
                  <a:cubicBezTo>
                    <a:pt x="299290" y="509731"/>
                    <a:pt x="297491" y="504332"/>
                    <a:pt x="295691" y="495785"/>
                  </a:cubicBezTo>
                  <a:cubicBezTo>
                    <a:pt x="293892" y="487237"/>
                    <a:pt x="296591" y="418858"/>
                    <a:pt x="297941" y="395915"/>
                  </a:cubicBezTo>
                  <a:cubicBezTo>
                    <a:pt x="298840" y="373421"/>
                    <a:pt x="302889" y="327535"/>
                    <a:pt x="298840" y="314039"/>
                  </a:cubicBezTo>
                  <a:cubicBezTo>
                    <a:pt x="295242" y="300544"/>
                    <a:pt x="262401" y="262755"/>
                    <a:pt x="244407" y="244760"/>
                  </a:cubicBezTo>
                  <a:cubicBezTo>
                    <a:pt x="239458" y="239812"/>
                    <a:pt x="243957" y="237563"/>
                    <a:pt x="243957" y="237563"/>
                  </a:cubicBezTo>
                  <a:cubicBezTo>
                    <a:pt x="244857" y="234863"/>
                    <a:pt x="267800" y="272652"/>
                    <a:pt x="240358" y="227215"/>
                  </a:cubicBezTo>
                  <a:cubicBezTo>
                    <a:pt x="234960" y="218668"/>
                    <a:pt x="235409" y="202023"/>
                    <a:pt x="234060" y="198874"/>
                  </a:cubicBezTo>
                  <a:cubicBezTo>
                    <a:pt x="233160" y="195725"/>
                    <a:pt x="237659" y="196175"/>
                    <a:pt x="237659" y="196175"/>
                  </a:cubicBezTo>
                  <a:cubicBezTo>
                    <a:pt x="244857" y="195725"/>
                    <a:pt x="248455" y="194825"/>
                    <a:pt x="251605" y="192126"/>
                  </a:cubicBezTo>
                  <a:cubicBezTo>
                    <a:pt x="254304" y="189427"/>
                    <a:pt x="254304" y="185828"/>
                    <a:pt x="253404" y="180430"/>
                  </a:cubicBezTo>
                  <a:cubicBezTo>
                    <a:pt x="252504" y="175031"/>
                    <a:pt x="256553" y="170083"/>
                    <a:pt x="258353" y="167834"/>
                  </a:cubicBezTo>
                  <a:cubicBezTo>
                    <a:pt x="260152" y="166034"/>
                    <a:pt x="261052" y="161985"/>
                    <a:pt x="261052" y="159736"/>
                  </a:cubicBezTo>
                  <a:cubicBezTo>
                    <a:pt x="261052" y="157486"/>
                    <a:pt x="263751" y="151188"/>
                    <a:pt x="263751" y="151188"/>
                  </a:cubicBezTo>
                  <a:cubicBezTo>
                    <a:pt x="269599" y="138142"/>
                    <a:pt x="270499" y="133194"/>
                    <a:pt x="270499" y="125096"/>
                  </a:cubicBezTo>
                  <a:cubicBezTo>
                    <a:pt x="270499" y="116999"/>
                    <a:pt x="267800" y="112050"/>
                    <a:pt x="267800" y="108451"/>
                  </a:cubicBezTo>
                  <a:cubicBezTo>
                    <a:pt x="267800" y="104852"/>
                    <a:pt x="270049" y="98104"/>
                    <a:pt x="270049" y="98104"/>
                  </a:cubicBezTo>
                  <a:cubicBezTo>
                    <a:pt x="271398" y="90007"/>
                    <a:pt x="269149" y="80560"/>
                    <a:pt x="269149" y="80560"/>
                  </a:cubicBezTo>
                  <a:cubicBezTo>
                    <a:pt x="266450" y="73362"/>
                    <a:pt x="267800" y="59416"/>
                    <a:pt x="267800" y="59416"/>
                  </a:cubicBezTo>
                  <a:cubicBezTo>
                    <a:pt x="269149" y="49969"/>
                    <a:pt x="266450" y="41871"/>
                    <a:pt x="266450" y="41871"/>
                  </a:cubicBezTo>
                  <a:cubicBezTo>
                    <a:pt x="256103" y="25676"/>
                    <a:pt x="226412" y="9931"/>
                    <a:pt x="226412" y="9931"/>
                  </a:cubicBezTo>
                  <a:cubicBezTo>
                    <a:pt x="173328" y="-11213"/>
                    <a:pt x="142737" y="11280"/>
                    <a:pt x="124293" y="39172"/>
                  </a:cubicBezTo>
                  <a:cubicBezTo>
                    <a:pt x="106298" y="66614"/>
                    <a:pt x="108997" y="96755"/>
                    <a:pt x="106748" y="110701"/>
                  </a:cubicBezTo>
                  <a:cubicBezTo>
                    <a:pt x="104499" y="124646"/>
                    <a:pt x="94152" y="162435"/>
                    <a:pt x="97301" y="179080"/>
                  </a:cubicBezTo>
                  <a:cubicBezTo>
                    <a:pt x="100000" y="195725"/>
                    <a:pt x="100000" y="196625"/>
                    <a:pt x="100000" y="196625"/>
                  </a:cubicBezTo>
                  <a:cubicBezTo>
                    <a:pt x="103599" y="193926"/>
                    <a:pt x="106298" y="194825"/>
                    <a:pt x="108548" y="197974"/>
                  </a:cubicBezTo>
                  <a:cubicBezTo>
                    <a:pt x="107648" y="197524"/>
                    <a:pt x="106748" y="197524"/>
                    <a:pt x="106298" y="197075"/>
                  </a:cubicBezTo>
                  <a:cubicBezTo>
                    <a:pt x="97751" y="193026"/>
                    <a:pt x="89203" y="206072"/>
                    <a:pt x="84705" y="205622"/>
                  </a:cubicBezTo>
                  <a:cubicBezTo>
                    <a:pt x="80206" y="205172"/>
                    <a:pt x="59063" y="208321"/>
                    <a:pt x="36119" y="230815"/>
                  </a:cubicBezTo>
                  <a:cubicBezTo>
                    <a:pt x="12726" y="252858"/>
                    <a:pt x="4629" y="269953"/>
                    <a:pt x="9128" y="283448"/>
                  </a:cubicBezTo>
                  <a:cubicBezTo>
                    <a:pt x="13626" y="296944"/>
                    <a:pt x="10927" y="325736"/>
                    <a:pt x="9578" y="354527"/>
                  </a:cubicBezTo>
                  <a:cubicBezTo>
                    <a:pt x="8678" y="384668"/>
                    <a:pt x="6878" y="388717"/>
                    <a:pt x="4179" y="405362"/>
                  </a:cubicBezTo>
                  <a:close/>
                  <a:moveTo>
                    <a:pt x="84255" y="507481"/>
                  </a:moveTo>
                  <a:lnTo>
                    <a:pt x="84255" y="507481"/>
                  </a:lnTo>
                  <a:lnTo>
                    <a:pt x="84255" y="507481"/>
                  </a:lnTo>
                  <a:lnTo>
                    <a:pt x="84255" y="507481"/>
                  </a:lnTo>
                  <a:lnTo>
                    <a:pt x="84255" y="507481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3" name="任意多边形: 形状 9852">
              <a:extLst>
                <a:ext uri="{FF2B5EF4-FFF2-40B4-BE49-F238E27FC236}">
                  <a16:creationId xmlns:a16="http://schemas.microsoft.com/office/drawing/2014/main" id="{77591170-CB8E-47D0-A509-69B74FADD05A}"/>
                </a:ext>
              </a:extLst>
            </p:cNvPr>
            <p:cNvSpPr/>
            <p:nvPr/>
          </p:nvSpPr>
          <p:spPr>
            <a:xfrm>
              <a:off x="7428333" y="4176685"/>
              <a:ext cx="696609" cy="2077390"/>
            </a:xfrm>
            <a:custGeom>
              <a:avLst/>
              <a:gdLst>
                <a:gd name="connsiteX0" fmla="*/ 4637 w 503848"/>
                <a:gd name="connsiteY0" fmla="*/ 521636 h 1502547"/>
                <a:gd name="connsiteX1" fmla="*/ 10935 w 503848"/>
                <a:gd name="connsiteY1" fmla="*/ 523435 h 1502547"/>
                <a:gd name="connsiteX2" fmla="*/ 42876 w 503848"/>
                <a:gd name="connsiteY2" fmla="*/ 524335 h 1502547"/>
                <a:gd name="connsiteX3" fmla="*/ 43325 w 503848"/>
                <a:gd name="connsiteY3" fmla="*/ 529734 h 1502547"/>
                <a:gd name="connsiteX4" fmla="*/ 47374 w 503848"/>
                <a:gd name="connsiteY4" fmla="*/ 558075 h 1502547"/>
                <a:gd name="connsiteX5" fmla="*/ 56821 w 503848"/>
                <a:gd name="connsiteY5" fmla="*/ 578769 h 1502547"/>
                <a:gd name="connsiteX6" fmla="*/ 78415 w 503848"/>
                <a:gd name="connsiteY6" fmla="*/ 600812 h 1502547"/>
                <a:gd name="connsiteX7" fmla="*/ 88312 w 503848"/>
                <a:gd name="connsiteY7" fmla="*/ 608010 h 1502547"/>
                <a:gd name="connsiteX8" fmla="*/ 108106 w 503848"/>
                <a:gd name="connsiteY8" fmla="*/ 617457 h 1502547"/>
                <a:gd name="connsiteX9" fmla="*/ 113954 w 503848"/>
                <a:gd name="connsiteY9" fmla="*/ 616557 h 1502547"/>
                <a:gd name="connsiteX10" fmla="*/ 103157 w 503848"/>
                <a:gd name="connsiteY10" fmla="*/ 638151 h 1502547"/>
                <a:gd name="connsiteX11" fmla="*/ 86962 w 503848"/>
                <a:gd name="connsiteY11" fmla="*/ 682687 h 1502547"/>
                <a:gd name="connsiteX12" fmla="*/ 76615 w 503848"/>
                <a:gd name="connsiteY12" fmla="*/ 806850 h 1502547"/>
                <a:gd name="connsiteX13" fmla="*/ 83363 w 503848"/>
                <a:gd name="connsiteY13" fmla="*/ 852736 h 1502547"/>
                <a:gd name="connsiteX14" fmla="*/ 92810 w 503848"/>
                <a:gd name="connsiteY14" fmla="*/ 984097 h 1502547"/>
                <a:gd name="connsiteX15" fmla="*/ 104057 w 503848"/>
                <a:gd name="connsiteY15" fmla="*/ 1063723 h 1502547"/>
                <a:gd name="connsiteX16" fmla="*/ 106306 w 503848"/>
                <a:gd name="connsiteY16" fmla="*/ 1098362 h 1502547"/>
                <a:gd name="connsiteX17" fmla="*/ 107656 w 503848"/>
                <a:gd name="connsiteY17" fmla="*/ 1116807 h 1502547"/>
                <a:gd name="connsiteX18" fmla="*/ 105407 w 503848"/>
                <a:gd name="connsiteY18" fmla="*/ 1167641 h 1502547"/>
                <a:gd name="connsiteX19" fmla="*/ 105407 w 503848"/>
                <a:gd name="connsiteY19" fmla="*/ 1269761 h 1502547"/>
                <a:gd name="connsiteX20" fmla="*/ 115754 w 503848"/>
                <a:gd name="connsiteY20" fmla="*/ 1362882 h 1502547"/>
                <a:gd name="connsiteX21" fmla="*/ 122502 w 503848"/>
                <a:gd name="connsiteY21" fmla="*/ 1381327 h 1502547"/>
                <a:gd name="connsiteX22" fmla="*/ 104057 w 503848"/>
                <a:gd name="connsiteY22" fmla="*/ 1412368 h 1502547"/>
                <a:gd name="connsiteX23" fmla="*/ 101808 w 503848"/>
                <a:gd name="connsiteY23" fmla="*/ 1442059 h 1502547"/>
                <a:gd name="connsiteX24" fmla="*/ 86962 w 503848"/>
                <a:gd name="connsiteY24" fmla="*/ 1459154 h 1502547"/>
                <a:gd name="connsiteX25" fmla="*/ 53672 w 503848"/>
                <a:gd name="connsiteY25" fmla="*/ 1466351 h 1502547"/>
                <a:gd name="connsiteX26" fmla="*/ 47824 w 503848"/>
                <a:gd name="connsiteY26" fmla="*/ 1477598 h 1502547"/>
                <a:gd name="connsiteX27" fmla="*/ 43325 w 503848"/>
                <a:gd name="connsiteY27" fmla="*/ 1485696 h 1502547"/>
                <a:gd name="connsiteX28" fmla="*/ 75716 w 503848"/>
                <a:gd name="connsiteY28" fmla="*/ 1497392 h 1502547"/>
                <a:gd name="connsiteX29" fmla="*/ 198979 w 503848"/>
                <a:gd name="connsiteY29" fmla="*/ 1497392 h 1502547"/>
                <a:gd name="connsiteX30" fmla="*/ 207976 w 503848"/>
                <a:gd name="connsiteY30" fmla="*/ 1496043 h 1502547"/>
                <a:gd name="connsiteX31" fmla="*/ 207076 w 503848"/>
                <a:gd name="connsiteY31" fmla="*/ 1473099 h 1502547"/>
                <a:gd name="connsiteX32" fmla="*/ 204827 w 503848"/>
                <a:gd name="connsiteY32" fmla="*/ 1461403 h 1502547"/>
                <a:gd name="connsiteX33" fmla="*/ 211125 w 503848"/>
                <a:gd name="connsiteY33" fmla="*/ 1445208 h 1502547"/>
                <a:gd name="connsiteX34" fmla="*/ 215623 w 503848"/>
                <a:gd name="connsiteY34" fmla="*/ 1430362 h 1502547"/>
                <a:gd name="connsiteX35" fmla="*/ 216973 w 503848"/>
                <a:gd name="connsiteY35" fmla="*/ 1421365 h 1502547"/>
                <a:gd name="connsiteX36" fmla="*/ 216523 w 503848"/>
                <a:gd name="connsiteY36" fmla="*/ 1412368 h 1502547"/>
                <a:gd name="connsiteX37" fmla="*/ 214274 w 503848"/>
                <a:gd name="connsiteY37" fmla="*/ 1383576 h 1502547"/>
                <a:gd name="connsiteX38" fmla="*/ 207976 w 503848"/>
                <a:gd name="connsiteY38" fmla="*/ 1361083 h 1502547"/>
                <a:gd name="connsiteX39" fmla="*/ 204827 w 503848"/>
                <a:gd name="connsiteY39" fmla="*/ 1332742 h 1502547"/>
                <a:gd name="connsiteX40" fmla="*/ 212475 w 503848"/>
                <a:gd name="connsiteY40" fmla="*/ 1282807 h 1502547"/>
                <a:gd name="connsiteX41" fmla="*/ 223271 w 503848"/>
                <a:gd name="connsiteY41" fmla="*/ 1189685 h 1502547"/>
                <a:gd name="connsiteX42" fmla="*/ 225520 w 503848"/>
                <a:gd name="connsiteY42" fmla="*/ 1070021 h 1502547"/>
                <a:gd name="connsiteX43" fmla="*/ 243065 w 503848"/>
                <a:gd name="connsiteY43" fmla="*/ 899072 h 1502547"/>
                <a:gd name="connsiteX44" fmla="*/ 255212 w 503848"/>
                <a:gd name="connsiteY44" fmla="*/ 838340 h 1502547"/>
                <a:gd name="connsiteX45" fmla="*/ 253412 w 503848"/>
                <a:gd name="connsiteY45" fmla="*/ 843289 h 1502547"/>
                <a:gd name="connsiteX46" fmla="*/ 255212 w 503848"/>
                <a:gd name="connsiteY46" fmla="*/ 837891 h 1502547"/>
                <a:gd name="connsiteX47" fmla="*/ 255212 w 503848"/>
                <a:gd name="connsiteY47" fmla="*/ 838340 h 1502547"/>
                <a:gd name="connsiteX48" fmla="*/ 255212 w 503848"/>
                <a:gd name="connsiteY48" fmla="*/ 837441 h 1502547"/>
                <a:gd name="connsiteX49" fmla="*/ 255661 w 503848"/>
                <a:gd name="connsiteY49" fmla="*/ 836541 h 1502547"/>
                <a:gd name="connsiteX50" fmla="*/ 255661 w 503848"/>
                <a:gd name="connsiteY50" fmla="*/ 836541 h 1502547"/>
                <a:gd name="connsiteX51" fmla="*/ 255661 w 503848"/>
                <a:gd name="connsiteY51" fmla="*/ 836541 h 1502547"/>
                <a:gd name="connsiteX52" fmla="*/ 255661 w 503848"/>
                <a:gd name="connsiteY52" fmla="*/ 836541 h 1502547"/>
                <a:gd name="connsiteX53" fmla="*/ 255661 w 503848"/>
                <a:gd name="connsiteY53" fmla="*/ 836541 h 1502547"/>
                <a:gd name="connsiteX54" fmla="*/ 265108 w 503848"/>
                <a:gd name="connsiteY54" fmla="*/ 871181 h 1502547"/>
                <a:gd name="connsiteX55" fmla="*/ 281304 w 503848"/>
                <a:gd name="connsiteY55" fmla="*/ 977798 h 1502547"/>
                <a:gd name="connsiteX56" fmla="*/ 290301 w 503848"/>
                <a:gd name="connsiteY56" fmla="*/ 1006140 h 1502547"/>
                <a:gd name="connsiteX57" fmla="*/ 291201 w 503848"/>
                <a:gd name="connsiteY57" fmla="*/ 1010639 h 1502547"/>
                <a:gd name="connsiteX58" fmla="*/ 296599 w 503848"/>
                <a:gd name="connsiteY58" fmla="*/ 1039430 h 1502547"/>
                <a:gd name="connsiteX59" fmla="*/ 296599 w 503848"/>
                <a:gd name="connsiteY59" fmla="*/ 1040330 h 1502547"/>
                <a:gd name="connsiteX60" fmla="*/ 315044 w 503848"/>
                <a:gd name="connsiteY60" fmla="*/ 1173939 h 1502547"/>
                <a:gd name="connsiteX61" fmla="*/ 322241 w 503848"/>
                <a:gd name="connsiteY61" fmla="*/ 1285506 h 1502547"/>
                <a:gd name="connsiteX62" fmla="*/ 326290 w 503848"/>
                <a:gd name="connsiteY62" fmla="*/ 1337690 h 1502547"/>
                <a:gd name="connsiteX63" fmla="*/ 333938 w 503848"/>
                <a:gd name="connsiteY63" fmla="*/ 1395723 h 1502547"/>
                <a:gd name="connsiteX64" fmla="*/ 344735 w 503848"/>
                <a:gd name="connsiteY64" fmla="*/ 1429463 h 1502547"/>
                <a:gd name="connsiteX65" fmla="*/ 344735 w 503848"/>
                <a:gd name="connsiteY65" fmla="*/ 1432162 h 1502547"/>
                <a:gd name="connsiteX66" fmla="*/ 346984 w 503848"/>
                <a:gd name="connsiteY66" fmla="*/ 1446107 h 1502547"/>
                <a:gd name="connsiteX67" fmla="*/ 350133 w 503848"/>
                <a:gd name="connsiteY67" fmla="*/ 1449707 h 1502547"/>
                <a:gd name="connsiteX68" fmla="*/ 364529 w 503848"/>
                <a:gd name="connsiteY68" fmla="*/ 1465002 h 1502547"/>
                <a:gd name="connsiteX69" fmla="*/ 363629 w 503848"/>
                <a:gd name="connsiteY69" fmla="*/ 1473549 h 1502547"/>
                <a:gd name="connsiteX70" fmla="*/ 361829 w 503848"/>
                <a:gd name="connsiteY70" fmla="*/ 1487045 h 1502547"/>
                <a:gd name="connsiteX71" fmla="*/ 363179 w 503848"/>
                <a:gd name="connsiteY71" fmla="*/ 1500991 h 1502547"/>
                <a:gd name="connsiteX72" fmla="*/ 452702 w 503848"/>
                <a:gd name="connsiteY72" fmla="*/ 1501891 h 1502547"/>
                <a:gd name="connsiteX73" fmla="*/ 474296 w 503848"/>
                <a:gd name="connsiteY73" fmla="*/ 1469950 h 1502547"/>
                <a:gd name="connsiteX74" fmla="*/ 462599 w 503848"/>
                <a:gd name="connsiteY74" fmla="*/ 1455105 h 1502547"/>
                <a:gd name="connsiteX75" fmla="*/ 453602 w 503848"/>
                <a:gd name="connsiteY75" fmla="*/ 1438010 h 1502547"/>
                <a:gd name="connsiteX76" fmla="*/ 452702 w 503848"/>
                <a:gd name="connsiteY76" fmla="*/ 1403820 h 1502547"/>
                <a:gd name="connsiteX77" fmla="*/ 435607 w 503848"/>
                <a:gd name="connsiteY77" fmla="*/ 1375029 h 1502547"/>
                <a:gd name="connsiteX78" fmla="*/ 443705 w 503848"/>
                <a:gd name="connsiteY78" fmla="*/ 1258514 h 1502547"/>
                <a:gd name="connsiteX79" fmla="*/ 419862 w 503848"/>
                <a:gd name="connsiteY79" fmla="*/ 1103311 h 1502547"/>
                <a:gd name="connsiteX80" fmla="*/ 422111 w 503848"/>
                <a:gd name="connsiteY80" fmla="*/ 856785 h 1502547"/>
                <a:gd name="connsiteX81" fmla="*/ 405916 w 503848"/>
                <a:gd name="connsiteY81" fmla="*/ 688985 h 1502547"/>
                <a:gd name="connsiteX82" fmla="*/ 374876 w 503848"/>
                <a:gd name="connsiteY82" fmla="*/ 629153 h 1502547"/>
                <a:gd name="connsiteX83" fmla="*/ 369927 w 503848"/>
                <a:gd name="connsiteY83" fmla="*/ 607560 h 1502547"/>
                <a:gd name="connsiteX84" fmla="*/ 369027 w 503848"/>
                <a:gd name="connsiteY84" fmla="*/ 606660 h 1502547"/>
                <a:gd name="connsiteX85" fmla="*/ 369027 w 503848"/>
                <a:gd name="connsiteY85" fmla="*/ 605760 h 1502547"/>
                <a:gd name="connsiteX86" fmla="*/ 375775 w 503848"/>
                <a:gd name="connsiteY86" fmla="*/ 611159 h 1502547"/>
                <a:gd name="connsiteX87" fmla="*/ 375775 w 503848"/>
                <a:gd name="connsiteY87" fmla="*/ 621056 h 1502547"/>
                <a:gd name="connsiteX88" fmla="*/ 391970 w 503848"/>
                <a:gd name="connsiteY88" fmla="*/ 614308 h 1502547"/>
                <a:gd name="connsiteX89" fmla="*/ 375775 w 503848"/>
                <a:gd name="connsiteY89" fmla="*/ 576070 h 1502547"/>
                <a:gd name="connsiteX90" fmla="*/ 366778 w 503848"/>
                <a:gd name="connsiteY90" fmla="*/ 554026 h 1502547"/>
                <a:gd name="connsiteX91" fmla="*/ 369927 w 503848"/>
                <a:gd name="connsiteY91" fmla="*/ 537381 h 1502547"/>
                <a:gd name="connsiteX92" fmla="*/ 369927 w 503848"/>
                <a:gd name="connsiteY92" fmla="*/ 536931 h 1502547"/>
                <a:gd name="connsiteX93" fmla="*/ 371726 w 503848"/>
                <a:gd name="connsiteY93" fmla="*/ 536931 h 1502547"/>
                <a:gd name="connsiteX94" fmla="*/ 389721 w 503848"/>
                <a:gd name="connsiteY94" fmla="*/ 542779 h 1502547"/>
                <a:gd name="connsiteX95" fmla="*/ 423011 w 503848"/>
                <a:gd name="connsiteY95" fmla="*/ 543229 h 1502547"/>
                <a:gd name="connsiteX96" fmla="*/ 450903 w 503848"/>
                <a:gd name="connsiteY96" fmla="*/ 557625 h 1502547"/>
                <a:gd name="connsiteX97" fmla="*/ 489141 w 503848"/>
                <a:gd name="connsiteY97" fmla="*/ 540980 h 1502547"/>
                <a:gd name="connsiteX98" fmla="*/ 504436 w 503848"/>
                <a:gd name="connsiteY98" fmla="*/ 518487 h 1502547"/>
                <a:gd name="connsiteX99" fmla="*/ 481943 w 503848"/>
                <a:gd name="connsiteY99" fmla="*/ 454156 h 1502547"/>
                <a:gd name="connsiteX100" fmla="*/ 469797 w 503848"/>
                <a:gd name="connsiteY100" fmla="*/ 420416 h 1502547"/>
                <a:gd name="connsiteX101" fmla="*/ 441905 w 503848"/>
                <a:gd name="connsiteY101" fmla="*/ 372731 h 1502547"/>
                <a:gd name="connsiteX102" fmla="*/ 430659 w 503848"/>
                <a:gd name="connsiteY102" fmla="*/ 349338 h 1502547"/>
                <a:gd name="connsiteX103" fmla="*/ 418512 w 503848"/>
                <a:gd name="connsiteY103" fmla="*/ 325945 h 1502547"/>
                <a:gd name="connsiteX104" fmla="*/ 413114 w 503848"/>
                <a:gd name="connsiteY104" fmla="*/ 308400 h 1502547"/>
                <a:gd name="connsiteX105" fmla="*/ 373076 w 503848"/>
                <a:gd name="connsiteY105" fmla="*/ 275110 h 1502547"/>
                <a:gd name="connsiteX106" fmla="*/ 315044 w 503848"/>
                <a:gd name="connsiteY106" fmla="*/ 263414 h 1502547"/>
                <a:gd name="connsiteX107" fmla="*/ 286252 w 503848"/>
                <a:gd name="connsiteY107" fmla="*/ 244969 h 1502547"/>
                <a:gd name="connsiteX108" fmla="*/ 273656 w 503848"/>
                <a:gd name="connsiteY108" fmla="*/ 240021 h 1502547"/>
                <a:gd name="connsiteX109" fmla="*/ 271407 w 503848"/>
                <a:gd name="connsiteY109" fmla="*/ 238221 h 1502547"/>
                <a:gd name="connsiteX110" fmla="*/ 261060 w 503848"/>
                <a:gd name="connsiteY110" fmla="*/ 215728 h 1502547"/>
                <a:gd name="connsiteX111" fmla="*/ 256561 w 503848"/>
                <a:gd name="connsiteY111" fmla="*/ 206281 h 1502547"/>
                <a:gd name="connsiteX112" fmla="*/ 253412 w 503848"/>
                <a:gd name="connsiteY112" fmla="*/ 184687 h 1502547"/>
                <a:gd name="connsiteX113" fmla="*/ 254762 w 503848"/>
                <a:gd name="connsiteY113" fmla="*/ 167593 h 1502547"/>
                <a:gd name="connsiteX114" fmla="*/ 256111 w 503848"/>
                <a:gd name="connsiteY114" fmla="*/ 151397 h 1502547"/>
                <a:gd name="connsiteX115" fmla="*/ 265108 w 503848"/>
                <a:gd name="connsiteY115" fmla="*/ 137452 h 1502547"/>
                <a:gd name="connsiteX116" fmla="*/ 270957 w 503848"/>
                <a:gd name="connsiteY116" fmla="*/ 104161 h 1502547"/>
                <a:gd name="connsiteX117" fmla="*/ 263759 w 503848"/>
                <a:gd name="connsiteY117" fmla="*/ 101912 h 1502547"/>
                <a:gd name="connsiteX118" fmla="*/ 262409 w 503848"/>
                <a:gd name="connsiteY118" fmla="*/ 45679 h 1502547"/>
                <a:gd name="connsiteX119" fmla="*/ 222371 w 503848"/>
                <a:gd name="connsiteY119" fmla="*/ 6541 h 1502547"/>
                <a:gd name="connsiteX120" fmla="*/ 198529 w 503848"/>
                <a:gd name="connsiteY120" fmla="*/ 3392 h 1502547"/>
                <a:gd name="connsiteX121" fmla="*/ 154892 w 503848"/>
                <a:gd name="connsiteY121" fmla="*/ 18687 h 1502547"/>
                <a:gd name="connsiteX122" fmla="*/ 132848 w 503848"/>
                <a:gd name="connsiteY122" fmla="*/ 43880 h 1502547"/>
                <a:gd name="connsiteX123" fmla="*/ 132848 w 503848"/>
                <a:gd name="connsiteY123" fmla="*/ 99213 h 1502547"/>
                <a:gd name="connsiteX124" fmla="*/ 134198 w 503848"/>
                <a:gd name="connsiteY124" fmla="*/ 107311 h 1502547"/>
                <a:gd name="connsiteX125" fmla="*/ 126101 w 503848"/>
                <a:gd name="connsiteY125" fmla="*/ 106411 h 1502547"/>
                <a:gd name="connsiteX126" fmla="*/ 128350 w 503848"/>
                <a:gd name="connsiteY126" fmla="*/ 134302 h 1502547"/>
                <a:gd name="connsiteX127" fmla="*/ 143195 w 503848"/>
                <a:gd name="connsiteY127" fmla="*/ 151397 h 1502547"/>
                <a:gd name="connsiteX128" fmla="*/ 148144 w 503848"/>
                <a:gd name="connsiteY128" fmla="*/ 161744 h 1502547"/>
                <a:gd name="connsiteX129" fmla="*/ 162090 w 503848"/>
                <a:gd name="connsiteY129" fmla="*/ 206281 h 1502547"/>
                <a:gd name="connsiteX130" fmla="*/ 163439 w 503848"/>
                <a:gd name="connsiteY130" fmla="*/ 214378 h 1502547"/>
                <a:gd name="connsiteX131" fmla="*/ 158941 w 503848"/>
                <a:gd name="connsiteY131" fmla="*/ 210779 h 1502547"/>
                <a:gd name="connsiteX132" fmla="*/ 151293 w 503848"/>
                <a:gd name="connsiteY132" fmla="*/ 232373 h 1502547"/>
                <a:gd name="connsiteX133" fmla="*/ 127900 w 503848"/>
                <a:gd name="connsiteY133" fmla="*/ 244519 h 1502547"/>
                <a:gd name="connsiteX134" fmla="*/ 62669 w 503848"/>
                <a:gd name="connsiteY134" fmla="*/ 280059 h 1502547"/>
                <a:gd name="connsiteX135" fmla="*/ 39277 w 503848"/>
                <a:gd name="connsiteY135" fmla="*/ 298953 h 1502547"/>
                <a:gd name="connsiteX136" fmla="*/ 35678 w 503848"/>
                <a:gd name="connsiteY136" fmla="*/ 315598 h 1502547"/>
                <a:gd name="connsiteX137" fmla="*/ 10935 w 503848"/>
                <a:gd name="connsiteY137" fmla="*/ 316498 h 1502547"/>
                <a:gd name="connsiteX138" fmla="*/ 4637 w 503848"/>
                <a:gd name="connsiteY138" fmla="*/ 325945 h 1502547"/>
                <a:gd name="connsiteX139" fmla="*/ 8686 w 503848"/>
                <a:gd name="connsiteY139" fmla="*/ 507240 h 1502547"/>
                <a:gd name="connsiteX140" fmla="*/ 4187 w 503848"/>
                <a:gd name="connsiteY140" fmla="*/ 516238 h 1502547"/>
                <a:gd name="connsiteX141" fmla="*/ 4637 w 503848"/>
                <a:gd name="connsiteY141" fmla="*/ 521636 h 1502547"/>
                <a:gd name="connsiteX142" fmla="*/ 358681 w 503848"/>
                <a:gd name="connsiteY142" fmla="*/ 594514 h 1502547"/>
                <a:gd name="connsiteX143" fmla="*/ 369027 w 503848"/>
                <a:gd name="connsiteY143" fmla="*/ 602611 h 1502547"/>
                <a:gd name="connsiteX144" fmla="*/ 360030 w 503848"/>
                <a:gd name="connsiteY144" fmla="*/ 596313 h 1502547"/>
                <a:gd name="connsiteX145" fmla="*/ 351933 w 503848"/>
                <a:gd name="connsiteY145" fmla="*/ 596763 h 1502547"/>
                <a:gd name="connsiteX146" fmla="*/ 335288 w 503848"/>
                <a:gd name="connsiteY146" fmla="*/ 597663 h 1502547"/>
                <a:gd name="connsiteX147" fmla="*/ 358681 w 503848"/>
                <a:gd name="connsiteY147" fmla="*/ 594514 h 1502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503848" h="1502547">
                  <a:moveTo>
                    <a:pt x="4637" y="521636"/>
                  </a:moveTo>
                  <a:cubicBezTo>
                    <a:pt x="6886" y="523885"/>
                    <a:pt x="10935" y="523435"/>
                    <a:pt x="10935" y="523435"/>
                  </a:cubicBezTo>
                  <a:lnTo>
                    <a:pt x="42876" y="524335"/>
                  </a:lnTo>
                  <a:cubicBezTo>
                    <a:pt x="42876" y="527034"/>
                    <a:pt x="43325" y="528834"/>
                    <a:pt x="43325" y="529734"/>
                  </a:cubicBezTo>
                  <a:cubicBezTo>
                    <a:pt x="44225" y="538731"/>
                    <a:pt x="45125" y="549078"/>
                    <a:pt x="47374" y="558075"/>
                  </a:cubicBezTo>
                  <a:cubicBezTo>
                    <a:pt x="49624" y="567072"/>
                    <a:pt x="49174" y="572021"/>
                    <a:pt x="56821" y="578769"/>
                  </a:cubicBezTo>
                  <a:cubicBezTo>
                    <a:pt x="64469" y="585517"/>
                    <a:pt x="72117" y="595414"/>
                    <a:pt x="78415" y="600812"/>
                  </a:cubicBezTo>
                  <a:cubicBezTo>
                    <a:pt x="84713" y="606210"/>
                    <a:pt x="87862" y="606210"/>
                    <a:pt x="88312" y="608010"/>
                  </a:cubicBezTo>
                  <a:cubicBezTo>
                    <a:pt x="88762" y="609809"/>
                    <a:pt x="102258" y="617007"/>
                    <a:pt x="108106" y="617457"/>
                  </a:cubicBezTo>
                  <a:cubicBezTo>
                    <a:pt x="109455" y="617457"/>
                    <a:pt x="111255" y="617007"/>
                    <a:pt x="113954" y="616557"/>
                  </a:cubicBezTo>
                  <a:cubicBezTo>
                    <a:pt x="109006" y="621506"/>
                    <a:pt x="102258" y="630053"/>
                    <a:pt x="103157" y="638151"/>
                  </a:cubicBezTo>
                  <a:cubicBezTo>
                    <a:pt x="104507" y="649847"/>
                    <a:pt x="95960" y="661094"/>
                    <a:pt x="86962" y="682687"/>
                  </a:cubicBezTo>
                  <a:cubicBezTo>
                    <a:pt x="77965" y="704281"/>
                    <a:pt x="76615" y="770411"/>
                    <a:pt x="76615" y="806850"/>
                  </a:cubicBezTo>
                  <a:cubicBezTo>
                    <a:pt x="80214" y="821695"/>
                    <a:pt x="83813" y="826644"/>
                    <a:pt x="83363" y="852736"/>
                  </a:cubicBezTo>
                  <a:cubicBezTo>
                    <a:pt x="83363" y="852736"/>
                    <a:pt x="85613" y="938210"/>
                    <a:pt x="92810" y="984097"/>
                  </a:cubicBezTo>
                  <a:cubicBezTo>
                    <a:pt x="100008" y="1029983"/>
                    <a:pt x="104057" y="1053376"/>
                    <a:pt x="104057" y="1063723"/>
                  </a:cubicBezTo>
                  <a:cubicBezTo>
                    <a:pt x="104057" y="1074070"/>
                    <a:pt x="104057" y="1095663"/>
                    <a:pt x="106306" y="1098362"/>
                  </a:cubicBezTo>
                  <a:cubicBezTo>
                    <a:pt x="108556" y="1101511"/>
                    <a:pt x="109905" y="1105560"/>
                    <a:pt x="107656" y="1116807"/>
                  </a:cubicBezTo>
                  <a:cubicBezTo>
                    <a:pt x="105407" y="1128053"/>
                    <a:pt x="106306" y="1141999"/>
                    <a:pt x="105407" y="1167641"/>
                  </a:cubicBezTo>
                  <a:cubicBezTo>
                    <a:pt x="104507" y="1193284"/>
                    <a:pt x="103157" y="1230622"/>
                    <a:pt x="105407" y="1269761"/>
                  </a:cubicBezTo>
                  <a:cubicBezTo>
                    <a:pt x="107656" y="1308899"/>
                    <a:pt x="112605" y="1342189"/>
                    <a:pt x="115754" y="1362882"/>
                  </a:cubicBezTo>
                  <a:cubicBezTo>
                    <a:pt x="115754" y="1362882"/>
                    <a:pt x="121602" y="1374129"/>
                    <a:pt x="122502" y="1381327"/>
                  </a:cubicBezTo>
                  <a:cubicBezTo>
                    <a:pt x="123401" y="1388525"/>
                    <a:pt x="109905" y="1398422"/>
                    <a:pt x="104057" y="1412368"/>
                  </a:cubicBezTo>
                  <a:cubicBezTo>
                    <a:pt x="98209" y="1426314"/>
                    <a:pt x="100458" y="1439809"/>
                    <a:pt x="101808" y="1442059"/>
                  </a:cubicBezTo>
                  <a:cubicBezTo>
                    <a:pt x="103157" y="1444308"/>
                    <a:pt x="95060" y="1458254"/>
                    <a:pt x="86962" y="1459154"/>
                  </a:cubicBezTo>
                  <a:cubicBezTo>
                    <a:pt x="78865" y="1460053"/>
                    <a:pt x="59521" y="1460053"/>
                    <a:pt x="53672" y="1466351"/>
                  </a:cubicBezTo>
                  <a:cubicBezTo>
                    <a:pt x="47824" y="1473099"/>
                    <a:pt x="47824" y="1477598"/>
                    <a:pt x="47824" y="1477598"/>
                  </a:cubicBezTo>
                  <a:cubicBezTo>
                    <a:pt x="47824" y="1477598"/>
                    <a:pt x="37477" y="1480747"/>
                    <a:pt x="43325" y="1485696"/>
                  </a:cubicBezTo>
                  <a:cubicBezTo>
                    <a:pt x="49174" y="1490644"/>
                    <a:pt x="68968" y="1497392"/>
                    <a:pt x="75716" y="1497392"/>
                  </a:cubicBezTo>
                  <a:cubicBezTo>
                    <a:pt x="82464" y="1497392"/>
                    <a:pt x="198979" y="1497392"/>
                    <a:pt x="198979" y="1497392"/>
                  </a:cubicBezTo>
                  <a:lnTo>
                    <a:pt x="207976" y="1496043"/>
                  </a:lnTo>
                  <a:lnTo>
                    <a:pt x="207076" y="1473099"/>
                  </a:lnTo>
                  <a:cubicBezTo>
                    <a:pt x="207076" y="1473099"/>
                    <a:pt x="203927" y="1470850"/>
                    <a:pt x="204827" y="1461403"/>
                  </a:cubicBezTo>
                  <a:cubicBezTo>
                    <a:pt x="205727" y="1456454"/>
                    <a:pt x="208875" y="1451506"/>
                    <a:pt x="211125" y="1445208"/>
                  </a:cubicBezTo>
                  <a:cubicBezTo>
                    <a:pt x="213374" y="1440709"/>
                    <a:pt x="215174" y="1435761"/>
                    <a:pt x="215623" y="1430362"/>
                  </a:cubicBezTo>
                  <a:cubicBezTo>
                    <a:pt x="216073" y="1427663"/>
                    <a:pt x="216523" y="1424514"/>
                    <a:pt x="216973" y="1421365"/>
                  </a:cubicBezTo>
                  <a:cubicBezTo>
                    <a:pt x="216973" y="1418666"/>
                    <a:pt x="216973" y="1415517"/>
                    <a:pt x="216523" y="1412368"/>
                  </a:cubicBezTo>
                  <a:cubicBezTo>
                    <a:pt x="216973" y="1402021"/>
                    <a:pt x="216523" y="1391224"/>
                    <a:pt x="214274" y="1383576"/>
                  </a:cubicBezTo>
                  <a:cubicBezTo>
                    <a:pt x="212924" y="1378628"/>
                    <a:pt x="210225" y="1370980"/>
                    <a:pt x="207976" y="1361083"/>
                  </a:cubicBezTo>
                  <a:cubicBezTo>
                    <a:pt x="206176" y="1350736"/>
                    <a:pt x="204827" y="1340839"/>
                    <a:pt x="204827" y="1332742"/>
                  </a:cubicBezTo>
                  <a:cubicBezTo>
                    <a:pt x="204827" y="1321945"/>
                    <a:pt x="208426" y="1304400"/>
                    <a:pt x="212475" y="1282807"/>
                  </a:cubicBezTo>
                  <a:cubicBezTo>
                    <a:pt x="218323" y="1254915"/>
                    <a:pt x="224171" y="1220276"/>
                    <a:pt x="223271" y="1189685"/>
                  </a:cubicBezTo>
                  <a:cubicBezTo>
                    <a:pt x="222371" y="1147398"/>
                    <a:pt x="223271" y="1113658"/>
                    <a:pt x="225520" y="1070021"/>
                  </a:cubicBezTo>
                  <a:cubicBezTo>
                    <a:pt x="226870" y="1040780"/>
                    <a:pt x="234968" y="958454"/>
                    <a:pt x="243065" y="899072"/>
                  </a:cubicBezTo>
                  <a:cubicBezTo>
                    <a:pt x="248014" y="872080"/>
                    <a:pt x="253412" y="845538"/>
                    <a:pt x="255212" y="838340"/>
                  </a:cubicBezTo>
                  <a:cubicBezTo>
                    <a:pt x="254762" y="839690"/>
                    <a:pt x="254312" y="841040"/>
                    <a:pt x="253412" y="843289"/>
                  </a:cubicBezTo>
                  <a:cubicBezTo>
                    <a:pt x="253862" y="841040"/>
                    <a:pt x="254762" y="839240"/>
                    <a:pt x="255212" y="837891"/>
                  </a:cubicBezTo>
                  <a:cubicBezTo>
                    <a:pt x="255212" y="837891"/>
                    <a:pt x="255212" y="838340"/>
                    <a:pt x="255212" y="838340"/>
                  </a:cubicBezTo>
                  <a:cubicBezTo>
                    <a:pt x="255212" y="837891"/>
                    <a:pt x="255212" y="837891"/>
                    <a:pt x="255212" y="837441"/>
                  </a:cubicBezTo>
                  <a:cubicBezTo>
                    <a:pt x="255212" y="836991"/>
                    <a:pt x="255661" y="836991"/>
                    <a:pt x="255661" y="836541"/>
                  </a:cubicBezTo>
                  <a:cubicBezTo>
                    <a:pt x="255661" y="836541"/>
                    <a:pt x="255661" y="836541"/>
                    <a:pt x="255661" y="836541"/>
                  </a:cubicBezTo>
                  <a:cubicBezTo>
                    <a:pt x="255661" y="836541"/>
                    <a:pt x="255661" y="836541"/>
                    <a:pt x="255661" y="836541"/>
                  </a:cubicBezTo>
                  <a:cubicBezTo>
                    <a:pt x="255661" y="836541"/>
                    <a:pt x="255661" y="836541"/>
                    <a:pt x="255661" y="836541"/>
                  </a:cubicBezTo>
                  <a:cubicBezTo>
                    <a:pt x="255661" y="836541"/>
                    <a:pt x="255661" y="836541"/>
                    <a:pt x="255661" y="836541"/>
                  </a:cubicBezTo>
                  <a:cubicBezTo>
                    <a:pt x="256111" y="836991"/>
                    <a:pt x="258811" y="840140"/>
                    <a:pt x="265108" y="871181"/>
                  </a:cubicBezTo>
                  <a:cubicBezTo>
                    <a:pt x="268708" y="904021"/>
                    <a:pt x="278604" y="968801"/>
                    <a:pt x="281304" y="977798"/>
                  </a:cubicBezTo>
                  <a:cubicBezTo>
                    <a:pt x="283103" y="983197"/>
                    <a:pt x="286702" y="993544"/>
                    <a:pt x="290301" y="1006140"/>
                  </a:cubicBezTo>
                  <a:cubicBezTo>
                    <a:pt x="290751" y="1007489"/>
                    <a:pt x="290751" y="1008839"/>
                    <a:pt x="291201" y="1010639"/>
                  </a:cubicBezTo>
                  <a:cubicBezTo>
                    <a:pt x="293000" y="1017837"/>
                    <a:pt x="294800" y="1027733"/>
                    <a:pt x="296599" y="1039430"/>
                  </a:cubicBezTo>
                  <a:cubicBezTo>
                    <a:pt x="296599" y="1039880"/>
                    <a:pt x="296599" y="1039880"/>
                    <a:pt x="296599" y="1040330"/>
                  </a:cubicBezTo>
                  <a:cubicBezTo>
                    <a:pt x="298848" y="1065972"/>
                    <a:pt x="311445" y="1146048"/>
                    <a:pt x="315044" y="1173939"/>
                  </a:cubicBezTo>
                  <a:cubicBezTo>
                    <a:pt x="318642" y="1201831"/>
                    <a:pt x="322241" y="1263462"/>
                    <a:pt x="322241" y="1285506"/>
                  </a:cubicBezTo>
                  <a:cubicBezTo>
                    <a:pt x="322241" y="1295853"/>
                    <a:pt x="324041" y="1316546"/>
                    <a:pt x="326290" y="1337690"/>
                  </a:cubicBezTo>
                  <a:cubicBezTo>
                    <a:pt x="328090" y="1362882"/>
                    <a:pt x="330339" y="1385376"/>
                    <a:pt x="333938" y="1395723"/>
                  </a:cubicBezTo>
                  <a:cubicBezTo>
                    <a:pt x="337537" y="1411918"/>
                    <a:pt x="343835" y="1419566"/>
                    <a:pt x="344735" y="1429463"/>
                  </a:cubicBezTo>
                  <a:cubicBezTo>
                    <a:pt x="344735" y="1430362"/>
                    <a:pt x="344735" y="1431262"/>
                    <a:pt x="344735" y="1432162"/>
                  </a:cubicBezTo>
                  <a:cubicBezTo>
                    <a:pt x="344735" y="1440709"/>
                    <a:pt x="344285" y="1442509"/>
                    <a:pt x="346984" y="1446107"/>
                  </a:cubicBezTo>
                  <a:cubicBezTo>
                    <a:pt x="347884" y="1447457"/>
                    <a:pt x="348783" y="1448807"/>
                    <a:pt x="350133" y="1449707"/>
                  </a:cubicBezTo>
                  <a:cubicBezTo>
                    <a:pt x="355081" y="1455555"/>
                    <a:pt x="362729" y="1460953"/>
                    <a:pt x="364529" y="1465002"/>
                  </a:cubicBezTo>
                  <a:cubicBezTo>
                    <a:pt x="364529" y="1467251"/>
                    <a:pt x="364079" y="1470400"/>
                    <a:pt x="363629" y="1473549"/>
                  </a:cubicBezTo>
                  <a:cubicBezTo>
                    <a:pt x="362279" y="1478048"/>
                    <a:pt x="360930" y="1483446"/>
                    <a:pt x="361829" y="1487045"/>
                  </a:cubicBezTo>
                  <a:cubicBezTo>
                    <a:pt x="361380" y="1491544"/>
                    <a:pt x="363179" y="1500991"/>
                    <a:pt x="363179" y="1500991"/>
                  </a:cubicBezTo>
                  <a:cubicBezTo>
                    <a:pt x="363179" y="1500991"/>
                    <a:pt x="436507" y="1501891"/>
                    <a:pt x="452702" y="1501891"/>
                  </a:cubicBezTo>
                  <a:cubicBezTo>
                    <a:pt x="468897" y="1501891"/>
                    <a:pt x="488691" y="1501891"/>
                    <a:pt x="474296" y="1469950"/>
                  </a:cubicBezTo>
                  <a:cubicBezTo>
                    <a:pt x="474296" y="1469950"/>
                    <a:pt x="466198" y="1462752"/>
                    <a:pt x="462599" y="1455105"/>
                  </a:cubicBezTo>
                  <a:cubicBezTo>
                    <a:pt x="459000" y="1447907"/>
                    <a:pt x="453602" y="1440259"/>
                    <a:pt x="453602" y="1438010"/>
                  </a:cubicBezTo>
                  <a:cubicBezTo>
                    <a:pt x="453602" y="1435761"/>
                    <a:pt x="454951" y="1410118"/>
                    <a:pt x="452702" y="1403820"/>
                  </a:cubicBezTo>
                  <a:cubicBezTo>
                    <a:pt x="450453" y="1397972"/>
                    <a:pt x="439206" y="1388525"/>
                    <a:pt x="435607" y="1375029"/>
                  </a:cubicBezTo>
                  <a:cubicBezTo>
                    <a:pt x="432008" y="1361533"/>
                    <a:pt x="446854" y="1267961"/>
                    <a:pt x="443705" y="1258514"/>
                  </a:cubicBezTo>
                  <a:cubicBezTo>
                    <a:pt x="440556" y="1249067"/>
                    <a:pt x="421662" y="1159544"/>
                    <a:pt x="419862" y="1103311"/>
                  </a:cubicBezTo>
                  <a:cubicBezTo>
                    <a:pt x="418512" y="1047078"/>
                    <a:pt x="419862" y="900872"/>
                    <a:pt x="422111" y="856785"/>
                  </a:cubicBezTo>
                  <a:cubicBezTo>
                    <a:pt x="424361" y="812248"/>
                    <a:pt x="425260" y="731273"/>
                    <a:pt x="405916" y="688985"/>
                  </a:cubicBezTo>
                  <a:cubicBezTo>
                    <a:pt x="386572" y="646698"/>
                    <a:pt x="376225" y="637251"/>
                    <a:pt x="374876" y="629153"/>
                  </a:cubicBezTo>
                  <a:cubicBezTo>
                    <a:pt x="373526" y="621056"/>
                    <a:pt x="369927" y="607560"/>
                    <a:pt x="369927" y="607560"/>
                  </a:cubicBezTo>
                  <a:lnTo>
                    <a:pt x="369027" y="606660"/>
                  </a:lnTo>
                  <a:lnTo>
                    <a:pt x="369027" y="605760"/>
                  </a:lnTo>
                  <a:cubicBezTo>
                    <a:pt x="373976" y="608910"/>
                    <a:pt x="374426" y="608460"/>
                    <a:pt x="375775" y="611159"/>
                  </a:cubicBezTo>
                  <a:cubicBezTo>
                    <a:pt x="376675" y="613858"/>
                    <a:pt x="373526" y="620156"/>
                    <a:pt x="375775" y="621056"/>
                  </a:cubicBezTo>
                  <a:cubicBezTo>
                    <a:pt x="378025" y="621956"/>
                    <a:pt x="388371" y="628254"/>
                    <a:pt x="391970" y="614308"/>
                  </a:cubicBezTo>
                  <a:cubicBezTo>
                    <a:pt x="395119" y="600362"/>
                    <a:pt x="387922" y="589565"/>
                    <a:pt x="375775" y="576070"/>
                  </a:cubicBezTo>
                  <a:cubicBezTo>
                    <a:pt x="363629" y="562574"/>
                    <a:pt x="366328" y="561674"/>
                    <a:pt x="366778" y="554026"/>
                  </a:cubicBezTo>
                  <a:cubicBezTo>
                    <a:pt x="367228" y="546378"/>
                    <a:pt x="369027" y="540080"/>
                    <a:pt x="369927" y="537381"/>
                  </a:cubicBezTo>
                  <a:cubicBezTo>
                    <a:pt x="369927" y="537381"/>
                    <a:pt x="369927" y="537381"/>
                    <a:pt x="369927" y="536931"/>
                  </a:cubicBezTo>
                  <a:cubicBezTo>
                    <a:pt x="370827" y="536931"/>
                    <a:pt x="371277" y="536931"/>
                    <a:pt x="371726" y="536931"/>
                  </a:cubicBezTo>
                  <a:cubicBezTo>
                    <a:pt x="374876" y="537831"/>
                    <a:pt x="381624" y="542779"/>
                    <a:pt x="389721" y="542779"/>
                  </a:cubicBezTo>
                  <a:cubicBezTo>
                    <a:pt x="400068" y="542779"/>
                    <a:pt x="418512" y="540530"/>
                    <a:pt x="423011" y="543229"/>
                  </a:cubicBezTo>
                  <a:cubicBezTo>
                    <a:pt x="427510" y="545929"/>
                    <a:pt x="444605" y="557625"/>
                    <a:pt x="450903" y="557625"/>
                  </a:cubicBezTo>
                  <a:cubicBezTo>
                    <a:pt x="457201" y="557625"/>
                    <a:pt x="483743" y="543679"/>
                    <a:pt x="489141" y="540980"/>
                  </a:cubicBezTo>
                  <a:cubicBezTo>
                    <a:pt x="494539" y="538281"/>
                    <a:pt x="503987" y="525685"/>
                    <a:pt x="504436" y="518487"/>
                  </a:cubicBezTo>
                  <a:cubicBezTo>
                    <a:pt x="504887" y="511289"/>
                    <a:pt x="485092" y="466302"/>
                    <a:pt x="481943" y="454156"/>
                  </a:cubicBezTo>
                  <a:cubicBezTo>
                    <a:pt x="478794" y="442010"/>
                    <a:pt x="484193" y="441560"/>
                    <a:pt x="469797" y="420416"/>
                  </a:cubicBezTo>
                  <a:cubicBezTo>
                    <a:pt x="455401" y="399273"/>
                    <a:pt x="449103" y="384877"/>
                    <a:pt x="441905" y="372731"/>
                  </a:cubicBezTo>
                  <a:cubicBezTo>
                    <a:pt x="434707" y="360584"/>
                    <a:pt x="431558" y="353836"/>
                    <a:pt x="430659" y="349338"/>
                  </a:cubicBezTo>
                  <a:cubicBezTo>
                    <a:pt x="430209" y="344839"/>
                    <a:pt x="421212" y="332243"/>
                    <a:pt x="418512" y="325945"/>
                  </a:cubicBezTo>
                  <a:cubicBezTo>
                    <a:pt x="415813" y="319647"/>
                    <a:pt x="416713" y="316498"/>
                    <a:pt x="413114" y="308400"/>
                  </a:cubicBezTo>
                  <a:cubicBezTo>
                    <a:pt x="409065" y="300303"/>
                    <a:pt x="400968" y="287706"/>
                    <a:pt x="373076" y="275110"/>
                  </a:cubicBezTo>
                  <a:cubicBezTo>
                    <a:pt x="345185" y="262514"/>
                    <a:pt x="325840" y="268812"/>
                    <a:pt x="315044" y="263414"/>
                  </a:cubicBezTo>
                  <a:cubicBezTo>
                    <a:pt x="303797" y="258015"/>
                    <a:pt x="293900" y="248568"/>
                    <a:pt x="286252" y="244969"/>
                  </a:cubicBezTo>
                  <a:cubicBezTo>
                    <a:pt x="279954" y="242270"/>
                    <a:pt x="276355" y="241820"/>
                    <a:pt x="273656" y="240021"/>
                  </a:cubicBezTo>
                  <a:cubicBezTo>
                    <a:pt x="272756" y="239121"/>
                    <a:pt x="271856" y="238221"/>
                    <a:pt x="271407" y="238221"/>
                  </a:cubicBezTo>
                  <a:cubicBezTo>
                    <a:pt x="268258" y="235072"/>
                    <a:pt x="263759" y="221126"/>
                    <a:pt x="261060" y="215728"/>
                  </a:cubicBezTo>
                  <a:cubicBezTo>
                    <a:pt x="258361" y="210330"/>
                    <a:pt x="256561" y="206281"/>
                    <a:pt x="256561" y="206281"/>
                  </a:cubicBezTo>
                  <a:cubicBezTo>
                    <a:pt x="256561" y="206281"/>
                    <a:pt x="252063" y="208080"/>
                    <a:pt x="253412" y="184687"/>
                  </a:cubicBezTo>
                  <a:cubicBezTo>
                    <a:pt x="253412" y="184687"/>
                    <a:pt x="254762" y="174341"/>
                    <a:pt x="254762" y="167593"/>
                  </a:cubicBezTo>
                  <a:cubicBezTo>
                    <a:pt x="254762" y="160845"/>
                    <a:pt x="253412" y="154996"/>
                    <a:pt x="256111" y="151397"/>
                  </a:cubicBezTo>
                  <a:cubicBezTo>
                    <a:pt x="259260" y="147798"/>
                    <a:pt x="259710" y="144200"/>
                    <a:pt x="265108" y="137452"/>
                  </a:cubicBezTo>
                  <a:cubicBezTo>
                    <a:pt x="270057" y="130704"/>
                    <a:pt x="273656" y="107311"/>
                    <a:pt x="270957" y="104161"/>
                  </a:cubicBezTo>
                  <a:cubicBezTo>
                    <a:pt x="267358" y="99213"/>
                    <a:pt x="263759" y="105061"/>
                    <a:pt x="263759" y="101912"/>
                  </a:cubicBezTo>
                  <a:cubicBezTo>
                    <a:pt x="263759" y="98763"/>
                    <a:pt x="266008" y="51527"/>
                    <a:pt x="262409" y="45679"/>
                  </a:cubicBezTo>
                  <a:cubicBezTo>
                    <a:pt x="258811" y="39831"/>
                    <a:pt x="231369" y="10140"/>
                    <a:pt x="222371" y="6541"/>
                  </a:cubicBezTo>
                  <a:cubicBezTo>
                    <a:pt x="213374" y="2942"/>
                    <a:pt x="198529" y="3392"/>
                    <a:pt x="198529" y="3392"/>
                  </a:cubicBezTo>
                  <a:cubicBezTo>
                    <a:pt x="177835" y="5641"/>
                    <a:pt x="160290" y="10590"/>
                    <a:pt x="154892" y="18687"/>
                  </a:cubicBezTo>
                  <a:cubicBezTo>
                    <a:pt x="149494" y="26785"/>
                    <a:pt x="135098" y="38031"/>
                    <a:pt x="132848" y="43880"/>
                  </a:cubicBezTo>
                  <a:cubicBezTo>
                    <a:pt x="130599" y="49728"/>
                    <a:pt x="126101" y="81668"/>
                    <a:pt x="132848" y="99213"/>
                  </a:cubicBezTo>
                  <a:lnTo>
                    <a:pt x="134198" y="107311"/>
                  </a:lnTo>
                  <a:cubicBezTo>
                    <a:pt x="131049" y="108210"/>
                    <a:pt x="129699" y="102812"/>
                    <a:pt x="126101" y="106411"/>
                  </a:cubicBezTo>
                  <a:cubicBezTo>
                    <a:pt x="122052" y="110460"/>
                    <a:pt x="126101" y="128454"/>
                    <a:pt x="128350" y="134302"/>
                  </a:cubicBezTo>
                  <a:cubicBezTo>
                    <a:pt x="130599" y="140151"/>
                    <a:pt x="138697" y="149148"/>
                    <a:pt x="143195" y="151397"/>
                  </a:cubicBezTo>
                  <a:cubicBezTo>
                    <a:pt x="147694" y="153647"/>
                    <a:pt x="147694" y="157245"/>
                    <a:pt x="148144" y="161744"/>
                  </a:cubicBezTo>
                  <a:cubicBezTo>
                    <a:pt x="149043" y="166243"/>
                    <a:pt x="150393" y="184687"/>
                    <a:pt x="162090" y="206281"/>
                  </a:cubicBezTo>
                  <a:cubicBezTo>
                    <a:pt x="162090" y="206281"/>
                    <a:pt x="163439" y="211229"/>
                    <a:pt x="163439" y="214378"/>
                  </a:cubicBezTo>
                  <a:cubicBezTo>
                    <a:pt x="163439" y="214828"/>
                    <a:pt x="159840" y="212129"/>
                    <a:pt x="158941" y="210779"/>
                  </a:cubicBezTo>
                  <a:cubicBezTo>
                    <a:pt x="158041" y="215278"/>
                    <a:pt x="152193" y="229674"/>
                    <a:pt x="151293" y="232373"/>
                  </a:cubicBezTo>
                  <a:cubicBezTo>
                    <a:pt x="150393" y="235522"/>
                    <a:pt x="132398" y="237771"/>
                    <a:pt x="127900" y="244519"/>
                  </a:cubicBezTo>
                  <a:cubicBezTo>
                    <a:pt x="123401" y="251267"/>
                    <a:pt x="83813" y="264313"/>
                    <a:pt x="62669" y="280059"/>
                  </a:cubicBezTo>
                  <a:cubicBezTo>
                    <a:pt x="62669" y="280059"/>
                    <a:pt x="41976" y="292655"/>
                    <a:pt x="39277" y="298953"/>
                  </a:cubicBezTo>
                  <a:cubicBezTo>
                    <a:pt x="37477" y="302552"/>
                    <a:pt x="36128" y="309750"/>
                    <a:pt x="35678" y="315598"/>
                  </a:cubicBezTo>
                  <a:cubicBezTo>
                    <a:pt x="20382" y="316048"/>
                    <a:pt x="10935" y="316498"/>
                    <a:pt x="10935" y="316498"/>
                  </a:cubicBezTo>
                  <a:cubicBezTo>
                    <a:pt x="3288" y="319197"/>
                    <a:pt x="4637" y="325945"/>
                    <a:pt x="4637" y="325945"/>
                  </a:cubicBezTo>
                  <a:lnTo>
                    <a:pt x="8686" y="507240"/>
                  </a:lnTo>
                  <a:cubicBezTo>
                    <a:pt x="8686" y="507240"/>
                    <a:pt x="6436" y="513538"/>
                    <a:pt x="4187" y="516238"/>
                  </a:cubicBezTo>
                  <a:cubicBezTo>
                    <a:pt x="3737" y="516687"/>
                    <a:pt x="2388" y="519386"/>
                    <a:pt x="4637" y="521636"/>
                  </a:cubicBezTo>
                  <a:close/>
                  <a:moveTo>
                    <a:pt x="358681" y="594514"/>
                  </a:moveTo>
                  <a:cubicBezTo>
                    <a:pt x="360930" y="594514"/>
                    <a:pt x="364079" y="599463"/>
                    <a:pt x="369027" y="602611"/>
                  </a:cubicBezTo>
                  <a:lnTo>
                    <a:pt x="360030" y="596313"/>
                  </a:lnTo>
                  <a:cubicBezTo>
                    <a:pt x="360030" y="596313"/>
                    <a:pt x="356881" y="596313"/>
                    <a:pt x="351933" y="596763"/>
                  </a:cubicBezTo>
                  <a:cubicBezTo>
                    <a:pt x="347884" y="597213"/>
                    <a:pt x="342035" y="597213"/>
                    <a:pt x="335288" y="597663"/>
                  </a:cubicBezTo>
                  <a:cubicBezTo>
                    <a:pt x="349233" y="595863"/>
                    <a:pt x="357331" y="594514"/>
                    <a:pt x="358681" y="594514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4" name="任意多边形: 形状 9853">
              <a:extLst>
                <a:ext uri="{FF2B5EF4-FFF2-40B4-BE49-F238E27FC236}">
                  <a16:creationId xmlns:a16="http://schemas.microsoft.com/office/drawing/2014/main" id="{001C90CB-6F4A-40D8-BC36-BF469042E461}"/>
                </a:ext>
              </a:extLst>
            </p:cNvPr>
            <p:cNvSpPr/>
            <p:nvPr/>
          </p:nvSpPr>
          <p:spPr>
            <a:xfrm>
              <a:off x="10196591" y="4338956"/>
              <a:ext cx="559776" cy="1928116"/>
            </a:xfrm>
            <a:custGeom>
              <a:avLst/>
              <a:gdLst>
                <a:gd name="connsiteX0" fmla="*/ 380378 w 404878"/>
                <a:gd name="connsiteY0" fmla="*/ 1245514 h 1394580"/>
                <a:gd name="connsiteX1" fmla="*/ 379928 w 404878"/>
                <a:gd name="connsiteY1" fmla="*/ 1175785 h 1394580"/>
                <a:gd name="connsiteX2" fmla="*/ 368232 w 404878"/>
                <a:gd name="connsiteY2" fmla="*/ 978295 h 1394580"/>
                <a:gd name="connsiteX3" fmla="*/ 351587 w 404878"/>
                <a:gd name="connsiteY3" fmla="*/ 891920 h 1394580"/>
                <a:gd name="connsiteX4" fmla="*/ 356086 w 404878"/>
                <a:gd name="connsiteY4" fmla="*/ 802847 h 1394580"/>
                <a:gd name="connsiteX5" fmla="*/ 364633 w 404878"/>
                <a:gd name="connsiteY5" fmla="*/ 799698 h 1394580"/>
                <a:gd name="connsiteX6" fmla="*/ 382177 w 404878"/>
                <a:gd name="connsiteY6" fmla="*/ 669687 h 1394580"/>
                <a:gd name="connsiteX7" fmla="*/ 381728 w 404878"/>
                <a:gd name="connsiteY7" fmla="*/ 669687 h 1394580"/>
                <a:gd name="connsiteX8" fmla="*/ 385327 w 404878"/>
                <a:gd name="connsiteY8" fmla="*/ 626950 h 1394580"/>
                <a:gd name="connsiteX9" fmla="*/ 388476 w 404878"/>
                <a:gd name="connsiteY9" fmla="*/ 611205 h 1394580"/>
                <a:gd name="connsiteX10" fmla="*/ 383527 w 404878"/>
                <a:gd name="connsiteY10" fmla="*/ 587812 h 1394580"/>
                <a:gd name="connsiteX11" fmla="*/ 385327 w 404878"/>
                <a:gd name="connsiteY11" fmla="*/ 591861 h 1394580"/>
                <a:gd name="connsiteX12" fmla="*/ 374980 w 404878"/>
                <a:gd name="connsiteY12" fmla="*/ 522582 h 1394580"/>
                <a:gd name="connsiteX13" fmla="*/ 366883 w 404878"/>
                <a:gd name="connsiteY13" fmla="*/ 460500 h 1394580"/>
                <a:gd name="connsiteX14" fmla="*/ 357435 w 404878"/>
                <a:gd name="connsiteY14" fmla="*/ 448354 h 1394580"/>
                <a:gd name="connsiteX15" fmla="*/ 362834 w 404878"/>
                <a:gd name="connsiteY15" fmla="*/ 410116 h 1394580"/>
                <a:gd name="connsiteX16" fmla="*/ 363283 w 404878"/>
                <a:gd name="connsiteY16" fmla="*/ 378625 h 1394580"/>
                <a:gd name="connsiteX17" fmla="*/ 367782 w 404878"/>
                <a:gd name="connsiteY17" fmla="*/ 344435 h 1394580"/>
                <a:gd name="connsiteX18" fmla="*/ 334492 w 404878"/>
                <a:gd name="connsiteY18" fmla="*/ 199579 h 1394580"/>
                <a:gd name="connsiteX19" fmla="*/ 319647 w 404878"/>
                <a:gd name="connsiteY19" fmla="*/ 201828 h 1394580"/>
                <a:gd name="connsiteX20" fmla="*/ 307950 w 404878"/>
                <a:gd name="connsiteY20" fmla="*/ 200029 h 1394580"/>
                <a:gd name="connsiteX21" fmla="*/ 290855 w 404878"/>
                <a:gd name="connsiteY21" fmla="*/ 187433 h 1394580"/>
                <a:gd name="connsiteX22" fmla="*/ 291755 w 404878"/>
                <a:gd name="connsiteY22" fmla="*/ 179785 h 1394580"/>
                <a:gd name="connsiteX23" fmla="*/ 300302 w 404878"/>
                <a:gd name="connsiteY23" fmla="*/ 178435 h 1394580"/>
                <a:gd name="connsiteX24" fmla="*/ 311999 w 404878"/>
                <a:gd name="connsiteY24" fmla="*/ 169438 h 1394580"/>
                <a:gd name="connsiteX25" fmla="*/ 323695 w 404878"/>
                <a:gd name="connsiteY25" fmla="*/ 163590 h 1394580"/>
                <a:gd name="connsiteX26" fmla="*/ 335392 w 404878"/>
                <a:gd name="connsiteY26" fmla="*/ 150994 h 1394580"/>
                <a:gd name="connsiteX27" fmla="*/ 352487 w 404878"/>
                <a:gd name="connsiteY27" fmla="*/ 53823 h 1394580"/>
                <a:gd name="connsiteX28" fmla="*/ 309300 w 404878"/>
                <a:gd name="connsiteY28" fmla="*/ 12435 h 1394580"/>
                <a:gd name="connsiteX29" fmla="*/ 290855 w 404878"/>
                <a:gd name="connsiteY29" fmla="*/ 8386 h 1394580"/>
                <a:gd name="connsiteX30" fmla="*/ 239571 w 404878"/>
                <a:gd name="connsiteY30" fmla="*/ 3888 h 1394580"/>
                <a:gd name="connsiteX31" fmla="*/ 184687 w 404878"/>
                <a:gd name="connsiteY31" fmla="*/ 42576 h 1394580"/>
                <a:gd name="connsiteX32" fmla="*/ 171191 w 404878"/>
                <a:gd name="connsiteY32" fmla="*/ 98359 h 1394580"/>
                <a:gd name="connsiteX33" fmla="*/ 175240 w 404878"/>
                <a:gd name="connsiteY33" fmla="*/ 117704 h 1394580"/>
                <a:gd name="connsiteX34" fmla="*/ 175690 w 404878"/>
                <a:gd name="connsiteY34" fmla="*/ 135698 h 1394580"/>
                <a:gd name="connsiteX35" fmla="*/ 182438 w 404878"/>
                <a:gd name="connsiteY35" fmla="*/ 168088 h 1394580"/>
                <a:gd name="connsiteX36" fmla="*/ 184237 w 404878"/>
                <a:gd name="connsiteY36" fmla="*/ 182034 h 1394580"/>
                <a:gd name="connsiteX37" fmla="*/ 210779 w 404878"/>
                <a:gd name="connsiteY37" fmla="*/ 196880 h 1394580"/>
                <a:gd name="connsiteX38" fmla="*/ 222476 w 404878"/>
                <a:gd name="connsiteY38" fmla="*/ 212175 h 1394580"/>
                <a:gd name="connsiteX39" fmla="*/ 217527 w 404878"/>
                <a:gd name="connsiteY39" fmla="*/ 240067 h 1394580"/>
                <a:gd name="connsiteX40" fmla="*/ 171641 w 404878"/>
                <a:gd name="connsiteY40" fmla="*/ 263460 h 1394580"/>
                <a:gd name="connsiteX41" fmla="*/ 145549 w 404878"/>
                <a:gd name="connsiteY41" fmla="*/ 303498 h 1394580"/>
                <a:gd name="connsiteX42" fmla="*/ 135202 w 404878"/>
                <a:gd name="connsiteY42" fmla="*/ 348934 h 1394580"/>
                <a:gd name="connsiteX43" fmla="*/ 95614 w 404878"/>
                <a:gd name="connsiteY43" fmla="*/ 376376 h 1394580"/>
                <a:gd name="connsiteX44" fmla="*/ 11039 w 404878"/>
                <a:gd name="connsiteY44" fmla="*/ 344435 h 1394580"/>
                <a:gd name="connsiteX45" fmla="*/ 7890 w 404878"/>
                <a:gd name="connsiteY45" fmla="*/ 349834 h 1394580"/>
                <a:gd name="connsiteX46" fmla="*/ 1592 w 404878"/>
                <a:gd name="connsiteY46" fmla="*/ 349384 h 1394580"/>
                <a:gd name="connsiteX47" fmla="*/ 113159 w 404878"/>
                <a:gd name="connsiteY47" fmla="*/ 445205 h 1394580"/>
                <a:gd name="connsiteX48" fmla="*/ 109110 w 404878"/>
                <a:gd name="connsiteY48" fmla="*/ 457801 h 1394580"/>
                <a:gd name="connsiteX49" fmla="*/ 105511 w 404878"/>
                <a:gd name="connsiteY49" fmla="*/ 478045 h 1394580"/>
                <a:gd name="connsiteX50" fmla="*/ 112259 w 404878"/>
                <a:gd name="connsiteY50" fmla="*/ 501888 h 1394580"/>
                <a:gd name="connsiteX51" fmla="*/ 123956 w 404878"/>
                <a:gd name="connsiteY51" fmla="*/ 517633 h 1394580"/>
                <a:gd name="connsiteX52" fmla="*/ 137452 w 404878"/>
                <a:gd name="connsiteY52" fmla="*/ 515834 h 1394580"/>
                <a:gd name="connsiteX53" fmla="*/ 156346 w 404878"/>
                <a:gd name="connsiteY53" fmla="*/ 504137 h 1394580"/>
                <a:gd name="connsiteX54" fmla="*/ 159045 w 404878"/>
                <a:gd name="connsiteY54" fmla="*/ 487042 h 1394580"/>
                <a:gd name="connsiteX55" fmla="*/ 166693 w 404878"/>
                <a:gd name="connsiteY55" fmla="*/ 485693 h 1394580"/>
                <a:gd name="connsiteX56" fmla="*/ 167143 w 404878"/>
                <a:gd name="connsiteY56" fmla="*/ 486143 h 1394580"/>
                <a:gd name="connsiteX57" fmla="*/ 167143 w 404878"/>
                <a:gd name="connsiteY57" fmla="*/ 486593 h 1394580"/>
                <a:gd name="connsiteX58" fmla="*/ 169392 w 404878"/>
                <a:gd name="connsiteY58" fmla="*/ 497389 h 1394580"/>
                <a:gd name="connsiteX59" fmla="*/ 168942 w 404878"/>
                <a:gd name="connsiteY59" fmla="*/ 509536 h 1394580"/>
                <a:gd name="connsiteX60" fmla="*/ 163543 w 404878"/>
                <a:gd name="connsiteY60" fmla="*/ 518533 h 1394580"/>
                <a:gd name="connsiteX61" fmla="*/ 165793 w 404878"/>
                <a:gd name="connsiteY61" fmla="*/ 539677 h 1394580"/>
                <a:gd name="connsiteX62" fmla="*/ 153647 w 404878"/>
                <a:gd name="connsiteY62" fmla="*/ 584663 h 1394580"/>
                <a:gd name="connsiteX63" fmla="*/ 147348 w 404878"/>
                <a:gd name="connsiteY63" fmla="*/ 613904 h 1394580"/>
                <a:gd name="connsiteX64" fmla="*/ 150497 w 404878"/>
                <a:gd name="connsiteY64" fmla="*/ 613454 h 1394580"/>
                <a:gd name="connsiteX65" fmla="*/ 149598 w 404878"/>
                <a:gd name="connsiteY65" fmla="*/ 613904 h 1394580"/>
                <a:gd name="connsiteX66" fmla="*/ 145099 w 404878"/>
                <a:gd name="connsiteY66" fmla="*/ 678235 h 1394580"/>
                <a:gd name="connsiteX67" fmla="*/ 145099 w 404878"/>
                <a:gd name="connsiteY67" fmla="*/ 678235 h 1394580"/>
                <a:gd name="connsiteX68" fmla="*/ 143749 w 404878"/>
                <a:gd name="connsiteY68" fmla="*/ 720072 h 1394580"/>
                <a:gd name="connsiteX69" fmla="*/ 143300 w 404878"/>
                <a:gd name="connsiteY69" fmla="*/ 742565 h 1394580"/>
                <a:gd name="connsiteX70" fmla="*/ 141050 w 404878"/>
                <a:gd name="connsiteY70" fmla="*/ 770457 h 1394580"/>
                <a:gd name="connsiteX71" fmla="*/ 141950 w 404878"/>
                <a:gd name="connsiteY71" fmla="*/ 770457 h 1394580"/>
                <a:gd name="connsiteX72" fmla="*/ 137001 w 404878"/>
                <a:gd name="connsiteY72" fmla="*/ 814094 h 1394580"/>
                <a:gd name="connsiteX73" fmla="*/ 155896 w 404878"/>
                <a:gd name="connsiteY73" fmla="*/ 817243 h 1394580"/>
                <a:gd name="connsiteX74" fmla="*/ 158595 w 404878"/>
                <a:gd name="connsiteY74" fmla="*/ 817243 h 1394580"/>
                <a:gd name="connsiteX75" fmla="*/ 170741 w 404878"/>
                <a:gd name="connsiteY75" fmla="*/ 869427 h 1394580"/>
                <a:gd name="connsiteX76" fmla="*/ 194134 w 404878"/>
                <a:gd name="connsiteY76" fmla="*/ 952202 h 1394580"/>
                <a:gd name="connsiteX77" fmla="*/ 195934 w 404878"/>
                <a:gd name="connsiteY77" fmla="*/ 979194 h 1394580"/>
                <a:gd name="connsiteX78" fmla="*/ 204031 w 404878"/>
                <a:gd name="connsiteY78" fmla="*/ 1002587 h 1394580"/>
                <a:gd name="connsiteX79" fmla="*/ 208980 w 404878"/>
                <a:gd name="connsiteY79" fmla="*/ 1097509 h 1394580"/>
                <a:gd name="connsiteX80" fmla="*/ 229674 w 404878"/>
                <a:gd name="connsiteY80" fmla="*/ 1254061 h 1394580"/>
                <a:gd name="connsiteX81" fmla="*/ 209880 w 404878"/>
                <a:gd name="connsiteY81" fmla="*/ 1344934 h 1394580"/>
                <a:gd name="connsiteX82" fmla="*/ 180639 w 404878"/>
                <a:gd name="connsiteY82" fmla="*/ 1353931 h 1394580"/>
                <a:gd name="connsiteX83" fmla="*/ 165793 w 404878"/>
                <a:gd name="connsiteY83" fmla="*/ 1364278 h 1394580"/>
                <a:gd name="connsiteX84" fmla="*/ 195934 w 404878"/>
                <a:gd name="connsiteY84" fmla="*/ 1389471 h 1394580"/>
                <a:gd name="connsiteX85" fmla="*/ 246768 w 404878"/>
                <a:gd name="connsiteY85" fmla="*/ 1383173 h 1394580"/>
                <a:gd name="connsiteX86" fmla="*/ 273760 w 404878"/>
                <a:gd name="connsiteY86" fmla="*/ 1326040 h 1394580"/>
                <a:gd name="connsiteX87" fmla="*/ 290855 w 404878"/>
                <a:gd name="connsiteY87" fmla="*/ 1325590 h 1394580"/>
                <a:gd name="connsiteX88" fmla="*/ 293105 w 404878"/>
                <a:gd name="connsiteY88" fmla="*/ 1342235 h 1394580"/>
                <a:gd name="connsiteX89" fmla="*/ 293105 w 404878"/>
                <a:gd name="connsiteY89" fmla="*/ 1345834 h 1394580"/>
                <a:gd name="connsiteX90" fmla="*/ 269711 w 404878"/>
                <a:gd name="connsiteY90" fmla="*/ 1357081 h 1394580"/>
                <a:gd name="connsiteX91" fmla="*/ 267912 w 404878"/>
                <a:gd name="connsiteY91" fmla="*/ 1375075 h 1394580"/>
                <a:gd name="connsiteX92" fmla="*/ 277809 w 404878"/>
                <a:gd name="connsiteY92" fmla="*/ 1389021 h 1394580"/>
                <a:gd name="connsiteX93" fmla="*/ 357435 w 404878"/>
                <a:gd name="connsiteY93" fmla="*/ 1388571 h 1394580"/>
                <a:gd name="connsiteX94" fmla="*/ 364183 w 404878"/>
                <a:gd name="connsiteY94" fmla="*/ 1365178 h 1394580"/>
                <a:gd name="connsiteX95" fmla="*/ 377229 w 404878"/>
                <a:gd name="connsiteY95" fmla="*/ 1332788 h 1394580"/>
                <a:gd name="connsiteX96" fmla="*/ 385777 w 404878"/>
                <a:gd name="connsiteY96" fmla="*/ 1349883 h 1394580"/>
                <a:gd name="connsiteX97" fmla="*/ 388925 w 404878"/>
                <a:gd name="connsiteY97" fmla="*/ 1386772 h 1394580"/>
                <a:gd name="connsiteX98" fmla="*/ 395673 w 404878"/>
                <a:gd name="connsiteY98" fmla="*/ 1386322 h 1394580"/>
                <a:gd name="connsiteX99" fmla="*/ 407370 w 404878"/>
                <a:gd name="connsiteY99" fmla="*/ 1288251 h 1394580"/>
                <a:gd name="connsiteX100" fmla="*/ 380378 w 404878"/>
                <a:gd name="connsiteY100" fmla="*/ 1245514 h 1394580"/>
                <a:gd name="connsiteX101" fmla="*/ 332243 w 404878"/>
                <a:gd name="connsiteY101" fmla="*/ 1222571 h 1394580"/>
                <a:gd name="connsiteX102" fmla="*/ 325495 w 404878"/>
                <a:gd name="connsiteY102" fmla="*/ 1256311 h 1394580"/>
                <a:gd name="connsiteX103" fmla="*/ 320546 w 404878"/>
                <a:gd name="connsiteY103" fmla="*/ 1298598 h 1394580"/>
                <a:gd name="connsiteX104" fmla="*/ 305701 w 404878"/>
                <a:gd name="connsiteY104" fmla="*/ 1324240 h 1394580"/>
                <a:gd name="connsiteX105" fmla="*/ 307950 w 404878"/>
                <a:gd name="connsiteY105" fmla="*/ 1286002 h 1394580"/>
                <a:gd name="connsiteX106" fmla="*/ 288156 w 404878"/>
                <a:gd name="connsiteY106" fmla="*/ 1254061 h 1394580"/>
                <a:gd name="connsiteX107" fmla="*/ 278259 w 404878"/>
                <a:gd name="connsiteY107" fmla="*/ 1215373 h 1394580"/>
                <a:gd name="connsiteX108" fmla="*/ 278259 w 404878"/>
                <a:gd name="connsiteY108" fmla="*/ 1127650 h 1394580"/>
                <a:gd name="connsiteX109" fmla="*/ 285457 w 404878"/>
                <a:gd name="connsiteY109" fmla="*/ 1070517 h 1394580"/>
                <a:gd name="connsiteX110" fmla="*/ 281858 w 404878"/>
                <a:gd name="connsiteY110" fmla="*/ 1031378 h 1394580"/>
                <a:gd name="connsiteX111" fmla="*/ 273760 w 404878"/>
                <a:gd name="connsiteY111" fmla="*/ 991340 h 1394580"/>
                <a:gd name="connsiteX112" fmla="*/ 276010 w 404878"/>
                <a:gd name="connsiteY112" fmla="*/ 971097 h 1394580"/>
                <a:gd name="connsiteX113" fmla="*/ 294454 w 404878"/>
                <a:gd name="connsiteY113" fmla="*/ 1007086 h 1394580"/>
                <a:gd name="connsiteX114" fmla="*/ 316947 w 404878"/>
                <a:gd name="connsiteY114" fmla="*/ 1101108 h 1394580"/>
                <a:gd name="connsiteX115" fmla="*/ 332243 w 404878"/>
                <a:gd name="connsiteY115" fmla="*/ 1222571 h 1394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404878" h="1394580">
                  <a:moveTo>
                    <a:pt x="380378" y="1245514"/>
                  </a:moveTo>
                  <a:cubicBezTo>
                    <a:pt x="380378" y="1245514"/>
                    <a:pt x="373180" y="1228419"/>
                    <a:pt x="379928" y="1175785"/>
                  </a:cubicBezTo>
                  <a:cubicBezTo>
                    <a:pt x="386676" y="1123151"/>
                    <a:pt x="389826" y="1044874"/>
                    <a:pt x="368232" y="978295"/>
                  </a:cubicBezTo>
                  <a:cubicBezTo>
                    <a:pt x="346639" y="911265"/>
                    <a:pt x="350237" y="907216"/>
                    <a:pt x="351587" y="891920"/>
                  </a:cubicBezTo>
                  <a:cubicBezTo>
                    <a:pt x="352936" y="876625"/>
                    <a:pt x="355636" y="805546"/>
                    <a:pt x="356086" y="802847"/>
                  </a:cubicBezTo>
                  <a:cubicBezTo>
                    <a:pt x="359684" y="801948"/>
                    <a:pt x="362384" y="800598"/>
                    <a:pt x="364633" y="799698"/>
                  </a:cubicBezTo>
                  <a:cubicBezTo>
                    <a:pt x="364633" y="799698"/>
                    <a:pt x="378129" y="718723"/>
                    <a:pt x="382177" y="669687"/>
                  </a:cubicBezTo>
                  <a:cubicBezTo>
                    <a:pt x="382177" y="669687"/>
                    <a:pt x="382177" y="669687"/>
                    <a:pt x="381728" y="669687"/>
                  </a:cubicBezTo>
                  <a:cubicBezTo>
                    <a:pt x="383527" y="652593"/>
                    <a:pt x="385327" y="636847"/>
                    <a:pt x="385327" y="626950"/>
                  </a:cubicBezTo>
                  <a:cubicBezTo>
                    <a:pt x="385327" y="626950"/>
                    <a:pt x="389826" y="618403"/>
                    <a:pt x="388476" y="611205"/>
                  </a:cubicBezTo>
                  <a:cubicBezTo>
                    <a:pt x="387126" y="604007"/>
                    <a:pt x="383078" y="594560"/>
                    <a:pt x="383527" y="587812"/>
                  </a:cubicBezTo>
                  <a:cubicBezTo>
                    <a:pt x="383527" y="587812"/>
                    <a:pt x="383977" y="594560"/>
                    <a:pt x="385327" y="591861"/>
                  </a:cubicBezTo>
                  <a:cubicBezTo>
                    <a:pt x="386676" y="589611"/>
                    <a:pt x="380828" y="546425"/>
                    <a:pt x="374980" y="522582"/>
                  </a:cubicBezTo>
                  <a:cubicBezTo>
                    <a:pt x="368682" y="498739"/>
                    <a:pt x="366883" y="460500"/>
                    <a:pt x="366883" y="460500"/>
                  </a:cubicBezTo>
                  <a:cubicBezTo>
                    <a:pt x="365533" y="452853"/>
                    <a:pt x="355636" y="459151"/>
                    <a:pt x="357435" y="448354"/>
                  </a:cubicBezTo>
                  <a:cubicBezTo>
                    <a:pt x="359235" y="437557"/>
                    <a:pt x="362384" y="421362"/>
                    <a:pt x="362834" y="410116"/>
                  </a:cubicBezTo>
                  <a:cubicBezTo>
                    <a:pt x="363283" y="398869"/>
                    <a:pt x="365982" y="386723"/>
                    <a:pt x="363283" y="378625"/>
                  </a:cubicBezTo>
                  <a:cubicBezTo>
                    <a:pt x="361034" y="370078"/>
                    <a:pt x="363283" y="358381"/>
                    <a:pt x="367782" y="344435"/>
                  </a:cubicBezTo>
                  <a:cubicBezTo>
                    <a:pt x="372281" y="330490"/>
                    <a:pt x="408270" y="199129"/>
                    <a:pt x="334492" y="199579"/>
                  </a:cubicBezTo>
                  <a:cubicBezTo>
                    <a:pt x="334492" y="199579"/>
                    <a:pt x="327294" y="200929"/>
                    <a:pt x="319647" y="201828"/>
                  </a:cubicBezTo>
                  <a:cubicBezTo>
                    <a:pt x="316048" y="201828"/>
                    <a:pt x="311999" y="201378"/>
                    <a:pt x="307950" y="200029"/>
                  </a:cubicBezTo>
                  <a:cubicBezTo>
                    <a:pt x="298053" y="196880"/>
                    <a:pt x="291755" y="195080"/>
                    <a:pt x="290855" y="187433"/>
                  </a:cubicBezTo>
                  <a:cubicBezTo>
                    <a:pt x="290406" y="185183"/>
                    <a:pt x="290855" y="182484"/>
                    <a:pt x="291755" y="179785"/>
                  </a:cubicBezTo>
                  <a:cubicBezTo>
                    <a:pt x="294004" y="178885"/>
                    <a:pt x="296253" y="179335"/>
                    <a:pt x="300302" y="178435"/>
                  </a:cubicBezTo>
                  <a:cubicBezTo>
                    <a:pt x="304351" y="177086"/>
                    <a:pt x="308400" y="170788"/>
                    <a:pt x="311999" y="169438"/>
                  </a:cubicBezTo>
                  <a:cubicBezTo>
                    <a:pt x="315148" y="167639"/>
                    <a:pt x="318747" y="166289"/>
                    <a:pt x="323695" y="163590"/>
                  </a:cubicBezTo>
                  <a:cubicBezTo>
                    <a:pt x="328644" y="160891"/>
                    <a:pt x="329544" y="159541"/>
                    <a:pt x="335392" y="150994"/>
                  </a:cubicBezTo>
                  <a:cubicBezTo>
                    <a:pt x="359235" y="124452"/>
                    <a:pt x="361484" y="89812"/>
                    <a:pt x="352487" y="53823"/>
                  </a:cubicBezTo>
                  <a:cubicBezTo>
                    <a:pt x="343489" y="16934"/>
                    <a:pt x="313798" y="12435"/>
                    <a:pt x="309300" y="12435"/>
                  </a:cubicBezTo>
                  <a:cubicBezTo>
                    <a:pt x="304801" y="12435"/>
                    <a:pt x="298503" y="11986"/>
                    <a:pt x="290855" y="8386"/>
                  </a:cubicBezTo>
                  <a:cubicBezTo>
                    <a:pt x="283658" y="4788"/>
                    <a:pt x="264763" y="-1960"/>
                    <a:pt x="239571" y="3888"/>
                  </a:cubicBezTo>
                  <a:cubicBezTo>
                    <a:pt x="214378" y="9736"/>
                    <a:pt x="199982" y="22782"/>
                    <a:pt x="184687" y="42576"/>
                  </a:cubicBezTo>
                  <a:cubicBezTo>
                    <a:pt x="169392" y="62820"/>
                    <a:pt x="166243" y="81265"/>
                    <a:pt x="171191" y="98359"/>
                  </a:cubicBezTo>
                  <a:cubicBezTo>
                    <a:pt x="175690" y="113655"/>
                    <a:pt x="172990" y="113655"/>
                    <a:pt x="175240" y="117704"/>
                  </a:cubicBezTo>
                  <a:cubicBezTo>
                    <a:pt x="177489" y="121752"/>
                    <a:pt x="178389" y="117254"/>
                    <a:pt x="175690" y="135698"/>
                  </a:cubicBezTo>
                  <a:cubicBezTo>
                    <a:pt x="172990" y="151444"/>
                    <a:pt x="178839" y="160891"/>
                    <a:pt x="182438" y="168088"/>
                  </a:cubicBezTo>
                  <a:cubicBezTo>
                    <a:pt x="182438" y="171237"/>
                    <a:pt x="184687" y="177086"/>
                    <a:pt x="184237" y="182034"/>
                  </a:cubicBezTo>
                  <a:cubicBezTo>
                    <a:pt x="182438" y="201828"/>
                    <a:pt x="203132" y="196880"/>
                    <a:pt x="210779" y="196880"/>
                  </a:cubicBezTo>
                  <a:cubicBezTo>
                    <a:pt x="221126" y="196430"/>
                    <a:pt x="220677" y="204977"/>
                    <a:pt x="222476" y="212175"/>
                  </a:cubicBezTo>
                  <a:cubicBezTo>
                    <a:pt x="226075" y="226571"/>
                    <a:pt x="225625" y="230170"/>
                    <a:pt x="217527" y="240067"/>
                  </a:cubicBezTo>
                  <a:cubicBezTo>
                    <a:pt x="212129" y="246815"/>
                    <a:pt x="191435" y="256262"/>
                    <a:pt x="171641" y="263460"/>
                  </a:cubicBezTo>
                  <a:cubicBezTo>
                    <a:pt x="152297" y="270208"/>
                    <a:pt x="148698" y="291801"/>
                    <a:pt x="145549" y="303498"/>
                  </a:cubicBezTo>
                  <a:cubicBezTo>
                    <a:pt x="142850" y="313845"/>
                    <a:pt x="136552" y="341736"/>
                    <a:pt x="135202" y="348934"/>
                  </a:cubicBezTo>
                  <a:lnTo>
                    <a:pt x="95614" y="376376"/>
                  </a:lnTo>
                  <a:cubicBezTo>
                    <a:pt x="95614" y="376376"/>
                    <a:pt x="19137" y="350283"/>
                    <a:pt x="11039" y="344435"/>
                  </a:cubicBezTo>
                  <a:lnTo>
                    <a:pt x="7890" y="349834"/>
                  </a:lnTo>
                  <a:lnTo>
                    <a:pt x="1592" y="349384"/>
                  </a:lnTo>
                  <a:cubicBezTo>
                    <a:pt x="1592" y="349384"/>
                    <a:pt x="96514" y="433059"/>
                    <a:pt x="113159" y="445205"/>
                  </a:cubicBezTo>
                  <a:cubicBezTo>
                    <a:pt x="111809" y="448804"/>
                    <a:pt x="110009" y="452853"/>
                    <a:pt x="109110" y="457801"/>
                  </a:cubicBezTo>
                  <a:cubicBezTo>
                    <a:pt x="107310" y="465449"/>
                    <a:pt x="105961" y="472647"/>
                    <a:pt x="105511" y="478045"/>
                  </a:cubicBezTo>
                  <a:cubicBezTo>
                    <a:pt x="105061" y="486593"/>
                    <a:pt x="103712" y="491091"/>
                    <a:pt x="112259" y="501888"/>
                  </a:cubicBezTo>
                  <a:cubicBezTo>
                    <a:pt x="120357" y="513134"/>
                    <a:pt x="120357" y="517183"/>
                    <a:pt x="123956" y="517633"/>
                  </a:cubicBezTo>
                  <a:cubicBezTo>
                    <a:pt x="127554" y="518533"/>
                    <a:pt x="132053" y="519433"/>
                    <a:pt x="137452" y="515834"/>
                  </a:cubicBezTo>
                  <a:cubicBezTo>
                    <a:pt x="142850" y="511785"/>
                    <a:pt x="154546" y="509536"/>
                    <a:pt x="156346" y="504137"/>
                  </a:cubicBezTo>
                  <a:cubicBezTo>
                    <a:pt x="158595" y="495590"/>
                    <a:pt x="157696" y="490192"/>
                    <a:pt x="159045" y="487042"/>
                  </a:cubicBezTo>
                  <a:cubicBezTo>
                    <a:pt x="159045" y="487042"/>
                    <a:pt x="162644" y="486593"/>
                    <a:pt x="166693" y="485693"/>
                  </a:cubicBezTo>
                  <a:lnTo>
                    <a:pt x="167143" y="486143"/>
                  </a:lnTo>
                  <a:cubicBezTo>
                    <a:pt x="167143" y="486143"/>
                    <a:pt x="167143" y="486593"/>
                    <a:pt x="167143" y="486593"/>
                  </a:cubicBezTo>
                  <a:cubicBezTo>
                    <a:pt x="167592" y="493341"/>
                    <a:pt x="168492" y="490641"/>
                    <a:pt x="169392" y="497389"/>
                  </a:cubicBezTo>
                  <a:cubicBezTo>
                    <a:pt x="170741" y="504137"/>
                    <a:pt x="172541" y="503237"/>
                    <a:pt x="168942" y="509536"/>
                  </a:cubicBezTo>
                  <a:cubicBezTo>
                    <a:pt x="165343" y="515384"/>
                    <a:pt x="160395" y="512685"/>
                    <a:pt x="163543" y="518533"/>
                  </a:cubicBezTo>
                  <a:cubicBezTo>
                    <a:pt x="166693" y="524381"/>
                    <a:pt x="167143" y="534728"/>
                    <a:pt x="165793" y="539677"/>
                  </a:cubicBezTo>
                  <a:cubicBezTo>
                    <a:pt x="164443" y="544625"/>
                    <a:pt x="155896" y="570267"/>
                    <a:pt x="153647" y="584663"/>
                  </a:cubicBezTo>
                  <a:cubicBezTo>
                    <a:pt x="151397" y="599059"/>
                    <a:pt x="143300" y="612555"/>
                    <a:pt x="147348" y="613904"/>
                  </a:cubicBezTo>
                  <a:cubicBezTo>
                    <a:pt x="147798" y="613904"/>
                    <a:pt x="148698" y="613904"/>
                    <a:pt x="150497" y="613454"/>
                  </a:cubicBezTo>
                  <a:cubicBezTo>
                    <a:pt x="150047" y="613454"/>
                    <a:pt x="150047" y="613904"/>
                    <a:pt x="149598" y="613904"/>
                  </a:cubicBezTo>
                  <a:cubicBezTo>
                    <a:pt x="149598" y="613904"/>
                    <a:pt x="146449" y="649893"/>
                    <a:pt x="145099" y="678235"/>
                  </a:cubicBezTo>
                  <a:cubicBezTo>
                    <a:pt x="145099" y="678235"/>
                    <a:pt x="145099" y="678235"/>
                    <a:pt x="145099" y="678235"/>
                  </a:cubicBezTo>
                  <a:cubicBezTo>
                    <a:pt x="144200" y="693530"/>
                    <a:pt x="143300" y="709276"/>
                    <a:pt x="143749" y="720072"/>
                  </a:cubicBezTo>
                  <a:cubicBezTo>
                    <a:pt x="143749" y="726370"/>
                    <a:pt x="143749" y="734018"/>
                    <a:pt x="143300" y="742565"/>
                  </a:cubicBezTo>
                  <a:cubicBezTo>
                    <a:pt x="142850" y="752462"/>
                    <a:pt x="141950" y="762360"/>
                    <a:pt x="141050" y="770457"/>
                  </a:cubicBezTo>
                  <a:lnTo>
                    <a:pt x="141950" y="770457"/>
                  </a:lnTo>
                  <a:cubicBezTo>
                    <a:pt x="140600" y="791151"/>
                    <a:pt x="138351" y="810045"/>
                    <a:pt x="137001" y="814094"/>
                  </a:cubicBezTo>
                  <a:cubicBezTo>
                    <a:pt x="137001" y="814094"/>
                    <a:pt x="138801" y="818593"/>
                    <a:pt x="155896" y="817243"/>
                  </a:cubicBezTo>
                  <a:cubicBezTo>
                    <a:pt x="155896" y="817243"/>
                    <a:pt x="156795" y="817243"/>
                    <a:pt x="158595" y="817243"/>
                  </a:cubicBezTo>
                  <a:cubicBezTo>
                    <a:pt x="160844" y="828490"/>
                    <a:pt x="166243" y="856381"/>
                    <a:pt x="170741" y="869427"/>
                  </a:cubicBezTo>
                  <a:cubicBezTo>
                    <a:pt x="176140" y="886072"/>
                    <a:pt x="193234" y="946804"/>
                    <a:pt x="194134" y="952202"/>
                  </a:cubicBezTo>
                  <a:cubicBezTo>
                    <a:pt x="194584" y="957601"/>
                    <a:pt x="192335" y="970647"/>
                    <a:pt x="195934" y="979194"/>
                  </a:cubicBezTo>
                  <a:cubicBezTo>
                    <a:pt x="199533" y="987742"/>
                    <a:pt x="204031" y="994490"/>
                    <a:pt x="204031" y="1002587"/>
                  </a:cubicBezTo>
                  <a:cubicBezTo>
                    <a:pt x="204031" y="1010685"/>
                    <a:pt x="202682" y="1072766"/>
                    <a:pt x="208980" y="1097509"/>
                  </a:cubicBezTo>
                  <a:cubicBezTo>
                    <a:pt x="215278" y="1122701"/>
                    <a:pt x="231023" y="1205476"/>
                    <a:pt x="229674" y="1254061"/>
                  </a:cubicBezTo>
                  <a:cubicBezTo>
                    <a:pt x="228324" y="1302647"/>
                    <a:pt x="217527" y="1334587"/>
                    <a:pt x="209880" y="1344934"/>
                  </a:cubicBezTo>
                  <a:cubicBezTo>
                    <a:pt x="209880" y="1344934"/>
                    <a:pt x="203581" y="1353032"/>
                    <a:pt x="180639" y="1353931"/>
                  </a:cubicBezTo>
                  <a:cubicBezTo>
                    <a:pt x="180639" y="1353931"/>
                    <a:pt x="166693" y="1352582"/>
                    <a:pt x="165793" y="1364278"/>
                  </a:cubicBezTo>
                  <a:cubicBezTo>
                    <a:pt x="165343" y="1375975"/>
                    <a:pt x="168042" y="1389471"/>
                    <a:pt x="195934" y="1389471"/>
                  </a:cubicBezTo>
                  <a:cubicBezTo>
                    <a:pt x="223376" y="1389471"/>
                    <a:pt x="242719" y="1391270"/>
                    <a:pt x="246768" y="1383173"/>
                  </a:cubicBezTo>
                  <a:cubicBezTo>
                    <a:pt x="251267" y="1375075"/>
                    <a:pt x="259815" y="1339536"/>
                    <a:pt x="273760" y="1326040"/>
                  </a:cubicBezTo>
                  <a:cubicBezTo>
                    <a:pt x="287706" y="1312544"/>
                    <a:pt x="287706" y="1313893"/>
                    <a:pt x="290855" y="1325590"/>
                  </a:cubicBezTo>
                  <a:cubicBezTo>
                    <a:pt x="294004" y="1337286"/>
                    <a:pt x="293105" y="1342235"/>
                    <a:pt x="293105" y="1342235"/>
                  </a:cubicBezTo>
                  <a:cubicBezTo>
                    <a:pt x="293105" y="1342235"/>
                    <a:pt x="297603" y="1343585"/>
                    <a:pt x="293105" y="1345834"/>
                  </a:cubicBezTo>
                  <a:cubicBezTo>
                    <a:pt x="288606" y="1348083"/>
                    <a:pt x="274210" y="1351232"/>
                    <a:pt x="269711" y="1357081"/>
                  </a:cubicBezTo>
                  <a:cubicBezTo>
                    <a:pt x="265213" y="1362479"/>
                    <a:pt x="264763" y="1370576"/>
                    <a:pt x="267912" y="1375075"/>
                  </a:cubicBezTo>
                  <a:cubicBezTo>
                    <a:pt x="271061" y="1379574"/>
                    <a:pt x="264313" y="1387221"/>
                    <a:pt x="277809" y="1389021"/>
                  </a:cubicBezTo>
                  <a:cubicBezTo>
                    <a:pt x="291305" y="1390820"/>
                    <a:pt x="343039" y="1397568"/>
                    <a:pt x="357435" y="1388571"/>
                  </a:cubicBezTo>
                  <a:cubicBezTo>
                    <a:pt x="357435" y="1388571"/>
                    <a:pt x="364183" y="1379574"/>
                    <a:pt x="364183" y="1365178"/>
                  </a:cubicBezTo>
                  <a:cubicBezTo>
                    <a:pt x="364183" y="1351232"/>
                    <a:pt x="371381" y="1336387"/>
                    <a:pt x="377229" y="1332788"/>
                  </a:cubicBezTo>
                  <a:cubicBezTo>
                    <a:pt x="382628" y="1329189"/>
                    <a:pt x="384427" y="1337286"/>
                    <a:pt x="385777" y="1349883"/>
                  </a:cubicBezTo>
                  <a:cubicBezTo>
                    <a:pt x="387126" y="1362929"/>
                    <a:pt x="388925" y="1386772"/>
                    <a:pt x="388925" y="1386772"/>
                  </a:cubicBezTo>
                  <a:lnTo>
                    <a:pt x="395673" y="1386322"/>
                  </a:lnTo>
                  <a:cubicBezTo>
                    <a:pt x="395673" y="1386322"/>
                    <a:pt x="397923" y="1310744"/>
                    <a:pt x="407370" y="1288251"/>
                  </a:cubicBezTo>
                  <a:cubicBezTo>
                    <a:pt x="407820" y="1288251"/>
                    <a:pt x="401522" y="1258110"/>
                    <a:pt x="380378" y="1245514"/>
                  </a:cubicBezTo>
                  <a:close/>
                  <a:moveTo>
                    <a:pt x="332243" y="1222571"/>
                  </a:moveTo>
                  <a:cubicBezTo>
                    <a:pt x="330443" y="1239216"/>
                    <a:pt x="327294" y="1244614"/>
                    <a:pt x="325495" y="1256311"/>
                  </a:cubicBezTo>
                  <a:cubicBezTo>
                    <a:pt x="323695" y="1268007"/>
                    <a:pt x="323695" y="1290500"/>
                    <a:pt x="320546" y="1298598"/>
                  </a:cubicBezTo>
                  <a:cubicBezTo>
                    <a:pt x="317397" y="1306696"/>
                    <a:pt x="306601" y="1326940"/>
                    <a:pt x="305701" y="1324240"/>
                  </a:cubicBezTo>
                  <a:cubicBezTo>
                    <a:pt x="305251" y="1321991"/>
                    <a:pt x="308850" y="1306246"/>
                    <a:pt x="307950" y="1286002"/>
                  </a:cubicBezTo>
                  <a:cubicBezTo>
                    <a:pt x="307500" y="1265758"/>
                    <a:pt x="288156" y="1254061"/>
                    <a:pt x="288156" y="1254061"/>
                  </a:cubicBezTo>
                  <a:cubicBezTo>
                    <a:pt x="288156" y="1254061"/>
                    <a:pt x="280958" y="1236067"/>
                    <a:pt x="278259" y="1215373"/>
                  </a:cubicBezTo>
                  <a:cubicBezTo>
                    <a:pt x="276010" y="1194679"/>
                    <a:pt x="278259" y="1147444"/>
                    <a:pt x="278259" y="1127650"/>
                  </a:cubicBezTo>
                  <a:cubicBezTo>
                    <a:pt x="278259" y="1107855"/>
                    <a:pt x="285007" y="1082213"/>
                    <a:pt x="285457" y="1070517"/>
                  </a:cubicBezTo>
                  <a:cubicBezTo>
                    <a:pt x="285907" y="1058820"/>
                    <a:pt x="284107" y="1040376"/>
                    <a:pt x="281858" y="1031378"/>
                  </a:cubicBezTo>
                  <a:cubicBezTo>
                    <a:pt x="279609" y="1022381"/>
                    <a:pt x="275110" y="1002137"/>
                    <a:pt x="273760" y="991340"/>
                  </a:cubicBezTo>
                  <a:cubicBezTo>
                    <a:pt x="272411" y="980994"/>
                    <a:pt x="276010" y="971097"/>
                    <a:pt x="276010" y="971097"/>
                  </a:cubicBezTo>
                  <a:cubicBezTo>
                    <a:pt x="284107" y="976045"/>
                    <a:pt x="291755" y="996739"/>
                    <a:pt x="294454" y="1007086"/>
                  </a:cubicBezTo>
                  <a:cubicBezTo>
                    <a:pt x="296703" y="1017433"/>
                    <a:pt x="296253" y="1010235"/>
                    <a:pt x="316947" y="1101108"/>
                  </a:cubicBezTo>
                  <a:cubicBezTo>
                    <a:pt x="338991" y="1192430"/>
                    <a:pt x="334042" y="1205926"/>
                    <a:pt x="332243" y="1222571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6" name="任意多边形: 形状 9855">
              <a:extLst>
                <a:ext uri="{FF2B5EF4-FFF2-40B4-BE49-F238E27FC236}">
                  <a16:creationId xmlns:a16="http://schemas.microsoft.com/office/drawing/2014/main" id="{A532FE05-4830-4F64-BDAF-6A1F402BC174}"/>
                </a:ext>
              </a:extLst>
            </p:cNvPr>
            <p:cNvSpPr/>
            <p:nvPr/>
          </p:nvSpPr>
          <p:spPr>
            <a:xfrm>
              <a:off x="8192221" y="368969"/>
              <a:ext cx="1560993" cy="1895490"/>
            </a:xfrm>
            <a:custGeom>
              <a:avLst/>
              <a:gdLst>
                <a:gd name="connsiteX0" fmla="*/ 1260801 w 1259620"/>
                <a:gd name="connsiteY0" fmla="*/ 655729 h 1529539"/>
                <a:gd name="connsiteX1" fmla="*/ 655734 w 1259620"/>
                <a:gd name="connsiteY1" fmla="*/ 2075 h 1529539"/>
                <a:gd name="connsiteX2" fmla="*/ 2080 w 1259620"/>
                <a:gd name="connsiteY2" fmla="*/ 607143 h 1529539"/>
                <a:gd name="connsiteX3" fmla="*/ 533820 w 1259620"/>
                <a:gd name="connsiteY3" fmla="*/ 1253599 h 1529539"/>
                <a:gd name="connsiteX4" fmla="*/ 456444 w 1259620"/>
                <a:gd name="connsiteY4" fmla="*/ 1532065 h 1529539"/>
                <a:gd name="connsiteX5" fmla="*/ 764151 w 1259620"/>
                <a:gd name="connsiteY5" fmla="*/ 1246851 h 1529539"/>
                <a:gd name="connsiteX6" fmla="*/ 1260801 w 1259620"/>
                <a:gd name="connsiteY6" fmla="*/ 655729 h 1529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9620" h="1529539">
                  <a:moveTo>
                    <a:pt x="1260801" y="655729"/>
                  </a:moveTo>
                  <a:cubicBezTo>
                    <a:pt x="1274297" y="308433"/>
                    <a:pt x="1003479" y="15571"/>
                    <a:pt x="655734" y="2075"/>
                  </a:cubicBezTo>
                  <a:cubicBezTo>
                    <a:pt x="307988" y="-11420"/>
                    <a:pt x="15576" y="259398"/>
                    <a:pt x="2080" y="607143"/>
                  </a:cubicBezTo>
                  <a:cubicBezTo>
                    <a:pt x="-10516" y="929696"/>
                    <a:pt x="222064" y="1205013"/>
                    <a:pt x="533820" y="1253599"/>
                  </a:cubicBezTo>
                  <a:lnTo>
                    <a:pt x="456444" y="1532065"/>
                  </a:lnTo>
                  <a:lnTo>
                    <a:pt x="764151" y="1246851"/>
                  </a:lnTo>
                  <a:cubicBezTo>
                    <a:pt x="1038568" y="1188368"/>
                    <a:pt x="1249105" y="949490"/>
                    <a:pt x="1260801" y="655729"/>
                  </a:cubicBezTo>
                  <a:close/>
                </a:path>
              </a:pathLst>
            </a:custGeom>
            <a:solidFill>
              <a:schemeClr val="accent1">
                <a:alpha val="40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7" name="任意多边形: 形状 9856">
              <a:extLst>
                <a:ext uri="{FF2B5EF4-FFF2-40B4-BE49-F238E27FC236}">
                  <a16:creationId xmlns:a16="http://schemas.microsoft.com/office/drawing/2014/main" id="{7EC14066-6CFB-4D1F-B64D-4CBB0E9C8C48}"/>
                </a:ext>
              </a:extLst>
            </p:cNvPr>
            <p:cNvSpPr/>
            <p:nvPr/>
          </p:nvSpPr>
          <p:spPr>
            <a:xfrm>
              <a:off x="7267373" y="1418690"/>
              <a:ext cx="2058731" cy="2518990"/>
            </a:xfrm>
            <a:custGeom>
              <a:avLst/>
              <a:gdLst>
                <a:gd name="connsiteX0" fmla="*/ 2165 w 1489051"/>
                <a:gd name="connsiteY0" fmla="*/ 716085 h 1821951"/>
                <a:gd name="connsiteX1" fmla="*/ 773683 w 1489051"/>
                <a:gd name="connsiteY1" fmla="*/ 2150 h 1821951"/>
                <a:gd name="connsiteX2" fmla="*/ 1487618 w 1489051"/>
                <a:gd name="connsiteY2" fmla="*/ 773668 h 1821951"/>
                <a:gd name="connsiteX3" fmla="*/ 802924 w 1489051"/>
                <a:gd name="connsiteY3" fmla="*/ 1485803 h 1821951"/>
                <a:gd name="connsiteX4" fmla="*/ 868155 w 1489051"/>
                <a:gd name="connsiteY4" fmla="*/ 1820952 h 1821951"/>
                <a:gd name="connsiteX5" fmla="*/ 532106 w 1489051"/>
                <a:gd name="connsiteY5" fmla="*/ 1457462 h 1821951"/>
                <a:gd name="connsiteX6" fmla="*/ 2165 w 1489051"/>
                <a:gd name="connsiteY6" fmla="*/ 716085 h 1821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9051" h="1821951">
                  <a:moveTo>
                    <a:pt x="2165" y="716085"/>
                  </a:moveTo>
                  <a:cubicBezTo>
                    <a:pt x="17911" y="305809"/>
                    <a:pt x="363406" y="-13595"/>
                    <a:pt x="773683" y="2150"/>
                  </a:cubicBezTo>
                  <a:cubicBezTo>
                    <a:pt x="1183960" y="17895"/>
                    <a:pt x="1503363" y="363391"/>
                    <a:pt x="1487618" y="773668"/>
                  </a:cubicBezTo>
                  <a:cubicBezTo>
                    <a:pt x="1473222" y="1154703"/>
                    <a:pt x="1174062" y="1457012"/>
                    <a:pt x="802924" y="1485803"/>
                  </a:cubicBezTo>
                  <a:lnTo>
                    <a:pt x="868155" y="1820952"/>
                  </a:lnTo>
                  <a:lnTo>
                    <a:pt x="532106" y="1457462"/>
                  </a:lnTo>
                  <a:cubicBezTo>
                    <a:pt x="214951" y="1362540"/>
                    <a:pt x="-11331" y="1062481"/>
                    <a:pt x="2165" y="716085"/>
                  </a:cubicBezTo>
                  <a:close/>
                </a:path>
              </a:pathLst>
            </a:custGeom>
            <a:solidFill>
              <a:schemeClr val="accent3">
                <a:alpha val="60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0" name="任意多边形: 形状 9859">
              <a:extLst>
                <a:ext uri="{FF2B5EF4-FFF2-40B4-BE49-F238E27FC236}">
                  <a16:creationId xmlns:a16="http://schemas.microsoft.com/office/drawing/2014/main" id="{A26B8BBB-7722-4F4E-B5F4-3AE5C7083493}"/>
                </a:ext>
              </a:extLst>
            </p:cNvPr>
            <p:cNvSpPr/>
            <p:nvPr/>
          </p:nvSpPr>
          <p:spPr>
            <a:xfrm>
              <a:off x="9503977" y="1534427"/>
              <a:ext cx="1324802" cy="1604689"/>
            </a:xfrm>
            <a:custGeom>
              <a:avLst/>
              <a:gdLst>
                <a:gd name="connsiteX0" fmla="*/ 956804 w 958211"/>
                <a:gd name="connsiteY0" fmla="*/ 503337 h 1160650"/>
                <a:gd name="connsiteX1" fmla="*/ 503340 w 958211"/>
                <a:gd name="connsiteY1" fmla="*/ 2188 h 1160650"/>
                <a:gd name="connsiteX2" fmla="*/ 2191 w 958211"/>
                <a:gd name="connsiteY2" fmla="*/ 455651 h 1160650"/>
                <a:gd name="connsiteX3" fmla="*/ 400321 w 958211"/>
                <a:gd name="connsiteY3" fmla="*/ 950952 h 1160650"/>
                <a:gd name="connsiteX4" fmla="*/ 339139 w 958211"/>
                <a:gd name="connsiteY4" fmla="*/ 1161939 h 1160650"/>
                <a:gd name="connsiteX5" fmla="*/ 575318 w 958211"/>
                <a:gd name="connsiteY5" fmla="*/ 948253 h 1160650"/>
                <a:gd name="connsiteX6" fmla="*/ 956804 w 958211"/>
                <a:gd name="connsiteY6" fmla="*/ 503337 h 116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8211" h="1160650">
                  <a:moveTo>
                    <a:pt x="956804" y="503337"/>
                  </a:moveTo>
                  <a:cubicBezTo>
                    <a:pt x="969850" y="239716"/>
                    <a:pt x="766960" y="15234"/>
                    <a:pt x="503340" y="2188"/>
                  </a:cubicBezTo>
                  <a:cubicBezTo>
                    <a:pt x="239719" y="-10858"/>
                    <a:pt x="15237" y="192031"/>
                    <a:pt x="2191" y="455651"/>
                  </a:cubicBezTo>
                  <a:cubicBezTo>
                    <a:pt x="-9955" y="700377"/>
                    <a:pt x="164142" y="911364"/>
                    <a:pt x="400321" y="950952"/>
                  </a:cubicBezTo>
                  <a:lnTo>
                    <a:pt x="339139" y="1161939"/>
                  </a:lnTo>
                  <a:lnTo>
                    <a:pt x="575318" y="948253"/>
                  </a:lnTo>
                  <a:cubicBezTo>
                    <a:pt x="784055" y="905516"/>
                    <a:pt x="946007" y="726020"/>
                    <a:pt x="956804" y="503337"/>
                  </a:cubicBez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1" name="任意多边形: 形状 9860">
              <a:extLst>
                <a:ext uri="{FF2B5EF4-FFF2-40B4-BE49-F238E27FC236}">
                  <a16:creationId xmlns:a16="http://schemas.microsoft.com/office/drawing/2014/main" id="{427EEF10-D642-4869-9100-CD959B1A3B37}"/>
                </a:ext>
              </a:extLst>
            </p:cNvPr>
            <p:cNvSpPr/>
            <p:nvPr/>
          </p:nvSpPr>
          <p:spPr>
            <a:xfrm>
              <a:off x="6306427" y="1439639"/>
              <a:ext cx="1492735" cy="1828601"/>
            </a:xfrm>
            <a:custGeom>
              <a:avLst/>
              <a:gdLst>
                <a:gd name="connsiteX0" fmla="*/ 2017 w 1079674"/>
                <a:gd name="connsiteY0" fmla="*/ 520709 h 1322601"/>
                <a:gd name="connsiteX1" fmla="*/ 562548 w 1079674"/>
                <a:gd name="connsiteY1" fmla="*/ 2015 h 1322601"/>
                <a:gd name="connsiteX2" fmla="*/ 1081242 w 1079674"/>
                <a:gd name="connsiteY2" fmla="*/ 562547 h 1322601"/>
                <a:gd name="connsiteX3" fmla="*/ 583692 w 1079674"/>
                <a:gd name="connsiteY3" fmla="*/ 1079891 h 1322601"/>
                <a:gd name="connsiteX4" fmla="*/ 631377 w 1079674"/>
                <a:gd name="connsiteY4" fmla="*/ 1323268 h 1322601"/>
                <a:gd name="connsiteX5" fmla="*/ 387101 w 1079674"/>
                <a:gd name="connsiteY5" fmla="*/ 1059197 h 1322601"/>
                <a:gd name="connsiteX6" fmla="*/ 2017 w 1079674"/>
                <a:gd name="connsiteY6" fmla="*/ 520709 h 1322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9674" h="1322601">
                  <a:moveTo>
                    <a:pt x="2017" y="520709"/>
                  </a:moveTo>
                  <a:cubicBezTo>
                    <a:pt x="13713" y="222449"/>
                    <a:pt x="264738" y="-9681"/>
                    <a:pt x="562548" y="2015"/>
                  </a:cubicBezTo>
                  <a:cubicBezTo>
                    <a:pt x="860808" y="13262"/>
                    <a:pt x="1092938" y="264287"/>
                    <a:pt x="1081242" y="562547"/>
                  </a:cubicBezTo>
                  <a:cubicBezTo>
                    <a:pt x="1070445" y="839213"/>
                    <a:pt x="853160" y="1059197"/>
                    <a:pt x="583692" y="1079891"/>
                  </a:cubicBezTo>
                  <a:lnTo>
                    <a:pt x="631377" y="1323268"/>
                  </a:lnTo>
                  <a:lnTo>
                    <a:pt x="387101" y="1059197"/>
                  </a:lnTo>
                  <a:cubicBezTo>
                    <a:pt x="156320" y="990368"/>
                    <a:pt x="-7880" y="772184"/>
                    <a:pt x="2017" y="520709"/>
                  </a:cubicBez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3" name="任意多边形: 形状 9862">
              <a:extLst>
                <a:ext uri="{FF2B5EF4-FFF2-40B4-BE49-F238E27FC236}">
                  <a16:creationId xmlns:a16="http://schemas.microsoft.com/office/drawing/2014/main" id="{3D1C94B9-44FF-40C0-9E7C-D8951CA6E1DE}"/>
                </a:ext>
              </a:extLst>
            </p:cNvPr>
            <p:cNvSpPr/>
            <p:nvPr/>
          </p:nvSpPr>
          <p:spPr>
            <a:xfrm>
              <a:off x="10122858" y="2294021"/>
              <a:ext cx="1317417" cy="1600547"/>
            </a:xfrm>
            <a:custGeom>
              <a:avLst/>
              <a:gdLst>
                <a:gd name="connsiteX0" fmla="*/ 1027687 w 1025691"/>
                <a:gd name="connsiteY0" fmla="*/ 534612 h 1246124"/>
                <a:gd name="connsiteX1" fmla="*/ 534635 w 1025691"/>
                <a:gd name="connsiteY1" fmla="*/ 1972 h 1246124"/>
                <a:gd name="connsiteX2" fmla="*/ 1996 w 1025691"/>
                <a:gd name="connsiteY2" fmla="*/ 495024 h 1246124"/>
                <a:gd name="connsiteX3" fmla="*/ 435215 w 1025691"/>
                <a:gd name="connsiteY3" fmla="*/ 1021815 h 1246124"/>
                <a:gd name="connsiteX4" fmla="*/ 372234 w 1025691"/>
                <a:gd name="connsiteY4" fmla="*/ 1248997 h 1246124"/>
                <a:gd name="connsiteX5" fmla="*/ 622809 w 1025691"/>
                <a:gd name="connsiteY5" fmla="*/ 1016867 h 1246124"/>
                <a:gd name="connsiteX6" fmla="*/ 1027687 w 1025691"/>
                <a:gd name="connsiteY6" fmla="*/ 534612 h 1246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5691" h="1246124">
                  <a:moveTo>
                    <a:pt x="1027687" y="534612"/>
                  </a:moveTo>
                  <a:cubicBezTo>
                    <a:pt x="1038483" y="251197"/>
                    <a:pt x="818050" y="12769"/>
                    <a:pt x="534635" y="1972"/>
                  </a:cubicBezTo>
                  <a:cubicBezTo>
                    <a:pt x="251220" y="-8824"/>
                    <a:pt x="12792" y="211609"/>
                    <a:pt x="1996" y="495024"/>
                  </a:cubicBezTo>
                  <a:cubicBezTo>
                    <a:pt x="-8351" y="758195"/>
                    <a:pt x="181491" y="982227"/>
                    <a:pt x="435215" y="1021815"/>
                  </a:cubicBezTo>
                  <a:lnTo>
                    <a:pt x="372234" y="1248997"/>
                  </a:lnTo>
                  <a:lnTo>
                    <a:pt x="622809" y="1016867"/>
                  </a:lnTo>
                  <a:cubicBezTo>
                    <a:pt x="846841" y="968282"/>
                    <a:pt x="1018239" y="773940"/>
                    <a:pt x="1027687" y="534612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5" name="任意多边形: 形状 9854">
              <a:extLst>
                <a:ext uri="{FF2B5EF4-FFF2-40B4-BE49-F238E27FC236}">
                  <a16:creationId xmlns:a16="http://schemas.microsoft.com/office/drawing/2014/main" id="{A9BEFBFC-38F8-491F-983A-090EDA87E6D8}"/>
                </a:ext>
              </a:extLst>
            </p:cNvPr>
            <p:cNvSpPr/>
            <p:nvPr/>
          </p:nvSpPr>
          <p:spPr>
            <a:xfrm>
              <a:off x="8637651" y="2767088"/>
              <a:ext cx="926739" cy="1125771"/>
            </a:xfrm>
            <a:custGeom>
              <a:avLst/>
              <a:gdLst>
                <a:gd name="connsiteX0" fmla="*/ 671254 w 670298"/>
                <a:gd name="connsiteY0" fmla="*/ 349596 h 814254"/>
                <a:gd name="connsiteX1" fmla="*/ 349601 w 670298"/>
                <a:gd name="connsiteY1" fmla="*/ 1851 h 814254"/>
                <a:gd name="connsiteX2" fmla="*/ 1856 w 670298"/>
                <a:gd name="connsiteY2" fmla="*/ 323504 h 814254"/>
                <a:gd name="connsiteX3" fmla="*/ 284820 w 670298"/>
                <a:gd name="connsiteY3" fmla="*/ 667650 h 814254"/>
                <a:gd name="connsiteX4" fmla="*/ 243883 w 670298"/>
                <a:gd name="connsiteY4" fmla="*/ 816106 h 814254"/>
                <a:gd name="connsiteX5" fmla="*/ 407633 w 670298"/>
                <a:gd name="connsiteY5" fmla="*/ 664501 h 814254"/>
                <a:gd name="connsiteX6" fmla="*/ 671254 w 670298"/>
                <a:gd name="connsiteY6" fmla="*/ 349596 h 814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0298" h="814254">
                  <a:moveTo>
                    <a:pt x="671254" y="349596"/>
                  </a:moveTo>
                  <a:cubicBezTo>
                    <a:pt x="678452" y="164702"/>
                    <a:pt x="534495" y="9049"/>
                    <a:pt x="349601" y="1851"/>
                  </a:cubicBezTo>
                  <a:cubicBezTo>
                    <a:pt x="164707" y="-5347"/>
                    <a:pt x="9053" y="138610"/>
                    <a:pt x="1856" y="323504"/>
                  </a:cubicBezTo>
                  <a:cubicBezTo>
                    <a:pt x="-4892" y="495352"/>
                    <a:pt x="118820" y="641558"/>
                    <a:pt x="284820" y="667650"/>
                  </a:cubicBezTo>
                  <a:lnTo>
                    <a:pt x="243883" y="816106"/>
                  </a:lnTo>
                  <a:lnTo>
                    <a:pt x="407633" y="664501"/>
                  </a:lnTo>
                  <a:cubicBezTo>
                    <a:pt x="552940" y="633011"/>
                    <a:pt x="664956" y="505699"/>
                    <a:pt x="671254" y="349596"/>
                  </a:cubicBez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16" name="任意多边形: 形状 115">
            <a:extLst>
              <a:ext uri="{FF2B5EF4-FFF2-40B4-BE49-F238E27FC236}">
                <a16:creationId xmlns:a16="http://schemas.microsoft.com/office/drawing/2014/main" id="{C6F10E68-55D6-450E-B2A8-756D22C70816}"/>
              </a:ext>
            </a:extLst>
          </p:cNvPr>
          <p:cNvSpPr/>
          <p:nvPr userDrawn="1"/>
        </p:nvSpPr>
        <p:spPr>
          <a:xfrm>
            <a:off x="2" y="0"/>
            <a:ext cx="6497052" cy="6858000"/>
          </a:xfrm>
          <a:custGeom>
            <a:avLst/>
            <a:gdLst>
              <a:gd name="connsiteX0" fmla="*/ 0 w 6849979"/>
              <a:gd name="connsiteY0" fmla="*/ 0 h 6858000"/>
              <a:gd name="connsiteX1" fmla="*/ 6849979 w 6849979"/>
              <a:gd name="connsiteY1" fmla="*/ 0 h 6858000"/>
              <a:gd name="connsiteX2" fmla="*/ 6731804 w 6849979"/>
              <a:gd name="connsiteY2" fmla="*/ 184043 h 6858000"/>
              <a:gd name="connsiteX3" fmla="*/ 5868284 w 6849979"/>
              <a:gd name="connsiteY3" fmla="*/ 3429001 h 6858000"/>
              <a:gd name="connsiteX4" fmla="*/ 6731804 w 6849979"/>
              <a:gd name="connsiteY4" fmla="*/ 6673959 h 6858000"/>
              <a:gd name="connsiteX5" fmla="*/ 6849978 w 6849979"/>
              <a:gd name="connsiteY5" fmla="*/ 6858000 h 6858000"/>
              <a:gd name="connsiteX6" fmla="*/ 0 w 684997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49979" h="6858000">
                <a:moveTo>
                  <a:pt x="0" y="0"/>
                </a:moveTo>
                <a:lnTo>
                  <a:pt x="6849979" y="0"/>
                </a:lnTo>
                <a:lnTo>
                  <a:pt x="6731804" y="184043"/>
                </a:lnTo>
                <a:cubicBezTo>
                  <a:pt x="6192345" y="1065864"/>
                  <a:pt x="5868284" y="2196380"/>
                  <a:pt x="5868284" y="3429001"/>
                </a:cubicBezTo>
                <a:cubicBezTo>
                  <a:pt x="5868284" y="4661623"/>
                  <a:pt x="6192345" y="5792138"/>
                  <a:pt x="6731804" y="6673959"/>
                </a:cubicBezTo>
                <a:lnTo>
                  <a:pt x="684997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>
                  <a:lumMod val="75000"/>
                </a:schemeClr>
              </a:gs>
              <a:gs pos="100000">
                <a:schemeClr val="tx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3099" y="3828164"/>
            <a:ext cx="5237844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73099" y="2274474"/>
            <a:ext cx="5216072" cy="1272584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544733"/>
            <a:ext cx="523784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841004"/>
            <a:ext cx="523784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746662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62A3EE4B-117A-40BA-A66D-1DCB526B819D}"/>
              </a:ext>
            </a:extLst>
          </p:cNvPr>
          <p:cNvGrpSpPr/>
          <p:nvPr userDrawn="1"/>
        </p:nvGrpSpPr>
        <p:grpSpPr>
          <a:xfrm>
            <a:off x="1007224" y="1194008"/>
            <a:ext cx="4909482" cy="5663992"/>
            <a:chOff x="1007224" y="1194008"/>
            <a:chExt cx="4909482" cy="5663992"/>
          </a:xfrm>
        </p:grpSpPr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C545830F-03AB-4268-A6B8-C163A6726096}"/>
                </a:ext>
              </a:extLst>
            </p:cNvPr>
            <p:cNvSpPr/>
            <p:nvPr/>
          </p:nvSpPr>
          <p:spPr>
            <a:xfrm>
              <a:off x="1510860" y="6333672"/>
              <a:ext cx="3083359" cy="524328"/>
            </a:xfrm>
            <a:custGeom>
              <a:avLst/>
              <a:gdLst>
                <a:gd name="connsiteX0" fmla="*/ 1087278 w 2719388"/>
                <a:gd name="connsiteY0" fmla="*/ 113816 h 428271"/>
                <a:gd name="connsiteX1" fmla="*/ 1087278 w 2719388"/>
                <a:gd name="connsiteY1" fmla="*/ 166450 h 428271"/>
                <a:gd name="connsiteX2" fmla="*/ 1086379 w 2719388"/>
                <a:gd name="connsiteY2" fmla="*/ 180396 h 428271"/>
                <a:gd name="connsiteX3" fmla="*/ 1086828 w 2719388"/>
                <a:gd name="connsiteY3" fmla="*/ 178147 h 428271"/>
                <a:gd name="connsiteX4" fmla="*/ 1092677 w 2719388"/>
                <a:gd name="connsiteY4" fmla="*/ 159252 h 428271"/>
                <a:gd name="connsiteX5" fmla="*/ 1100324 w 2719388"/>
                <a:gd name="connsiteY5" fmla="*/ 133160 h 428271"/>
                <a:gd name="connsiteX6" fmla="*/ 1087278 w 2719388"/>
                <a:gd name="connsiteY6" fmla="*/ 113816 h 428271"/>
                <a:gd name="connsiteX7" fmla="*/ 2629135 w 2719388"/>
                <a:gd name="connsiteY7" fmla="*/ 19119 h 428271"/>
                <a:gd name="connsiteX8" fmla="*/ 2669454 w 2719388"/>
                <a:gd name="connsiteY8" fmla="*/ 23393 h 428271"/>
                <a:gd name="connsiteX9" fmla="*/ 2676201 w 2719388"/>
                <a:gd name="connsiteY9" fmla="*/ 46786 h 428271"/>
                <a:gd name="connsiteX10" fmla="*/ 2689248 w 2719388"/>
                <a:gd name="connsiteY10" fmla="*/ 79176 h 428271"/>
                <a:gd name="connsiteX11" fmla="*/ 2697795 w 2719388"/>
                <a:gd name="connsiteY11" fmla="*/ 62081 h 428271"/>
                <a:gd name="connsiteX12" fmla="*/ 2700944 w 2719388"/>
                <a:gd name="connsiteY12" fmla="*/ 25192 h 428271"/>
                <a:gd name="connsiteX13" fmla="*/ 2707692 w 2719388"/>
                <a:gd name="connsiteY13" fmla="*/ 25642 h 428271"/>
                <a:gd name="connsiteX14" fmla="*/ 2719388 w 2719388"/>
                <a:gd name="connsiteY14" fmla="*/ 123714 h 428271"/>
                <a:gd name="connsiteX15" fmla="*/ 2691947 w 2719388"/>
                <a:gd name="connsiteY15" fmla="*/ 166451 h 428271"/>
                <a:gd name="connsiteX16" fmla="*/ 2691497 w 2719388"/>
                <a:gd name="connsiteY16" fmla="*/ 236180 h 428271"/>
                <a:gd name="connsiteX17" fmla="*/ 2681600 w 2719388"/>
                <a:gd name="connsiteY17" fmla="*/ 426922 h 428271"/>
                <a:gd name="connsiteX18" fmla="*/ 2598374 w 2719388"/>
                <a:gd name="connsiteY18" fmla="*/ 426922 h 428271"/>
                <a:gd name="connsiteX19" fmla="*/ 2606922 w 2719388"/>
                <a:gd name="connsiteY19" fmla="*/ 403529 h 428271"/>
                <a:gd name="connsiteX20" fmla="*/ 2629415 w 2719388"/>
                <a:gd name="connsiteY20" fmla="*/ 309508 h 428271"/>
                <a:gd name="connsiteX21" fmla="*/ 2643362 w 2719388"/>
                <a:gd name="connsiteY21" fmla="*/ 188494 h 428271"/>
                <a:gd name="connsiteX22" fmla="*/ 2636614 w 2719388"/>
                <a:gd name="connsiteY22" fmla="*/ 154754 h 428271"/>
                <a:gd name="connsiteX23" fmla="*/ 2631665 w 2719388"/>
                <a:gd name="connsiteY23" fmla="*/ 112466 h 428271"/>
                <a:gd name="connsiteX24" fmla="*/ 2616820 w 2719388"/>
                <a:gd name="connsiteY24" fmla="*/ 86824 h 428271"/>
                <a:gd name="connsiteX25" fmla="*/ 2619069 w 2719388"/>
                <a:gd name="connsiteY25" fmla="*/ 125063 h 428271"/>
                <a:gd name="connsiteX26" fmla="*/ 2599275 w 2719388"/>
                <a:gd name="connsiteY26" fmla="*/ 157003 h 428271"/>
                <a:gd name="connsiteX27" fmla="*/ 2589377 w 2719388"/>
                <a:gd name="connsiteY27" fmla="*/ 195692 h 428271"/>
                <a:gd name="connsiteX28" fmla="*/ 2589377 w 2719388"/>
                <a:gd name="connsiteY28" fmla="*/ 283415 h 428271"/>
                <a:gd name="connsiteX29" fmla="*/ 2596575 w 2719388"/>
                <a:gd name="connsiteY29" fmla="*/ 340548 h 428271"/>
                <a:gd name="connsiteX30" fmla="*/ 2592976 w 2719388"/>
                <a:gd name="connsiteY30" fmla="*/ 379686 h 428271"/>
                <a:gd name="connsiteX31" fmla="*/ 2584878 w 2719388"/>
                <a:gd name="connsiteY31" fmla="*/ 419724 h 428271"/>
                <a:gd name="connsiteX32" fmla="*/ 2586228 w 2719388"/>
                <a:gd name="connsiteY32" fmla="*/ 427822 h 428271"/>
                <a:gd name="connsiteX33" fmla="*/ 2510200 w 2719388"/>
                <a:gd name="connsiteY33" fmla="*/ 427822 h 428271"/>
                <a:gd name="connsiteX34" fmla="*/ 2516049 w 2719388"/>
                <a:gd name="connsiteY34" fmla="*/ 409378 h 428271"/>
                <a:gd name="connsiteX35" fmla="*/ 2520997 w 2719388"/>
                <a:gd name="connsiteY35" fmla="*/ 314456 h 428271"/>
                <a:gd name="connsiteX36" fmla="*/ 2541691 w 2719388"/>
                <a:gd name="connsiteY36" fmla="*/ 157903 h 428271"/>
                <a:gd name="connsiteX37" fmla="*/ 2521897 w 2719388"/>
                <a:gd name="connsiteY37" fmla="*/ 67029 h 428271"/>
                <a:gd name="connsiteX38" fmla="*/ 2492656 w 2719388"/>
                <a:gd name="connsiteY38" fmla="*/ 58032 h 428271"/>
                <a:gd name="connsiteX39" fmla="*/ 2477810 w 2719388"/>
                <a:gd name="connsiteY39" fmla="*/ 47685 h 428271"/>
                <a:gd name="connsiteX40" fmla="*/ 2507951 w 2719388"/>
                <a:gd name="connsiteY40" fmla="*/ 22493 h 428271"/>
                <a:gd name="connsiteX41" fmla="*/ 2558786 w 2719388"/>
                <a:gd name="connsiteY41" fmla="*/ 28791 h 428271"/>
                <a:gd name="connsiteX42" fmla="*/ 2585778 w 2719388"/>
                <a:gd name="connsiteY42" fmla="*/ 85924 h 428271"/>
                <a:gd name="connsiteX43" fmla="*/ 2602874 w 2719388"/>
                <a:gd name="connsiteY43" fmla="*/ 86374 h 428271"/>
                <a:gd name="connsiteX44" fmla="*/ 2605123 w 2719388"/>
                <a:gd name="connsiteY44" fmla="*/ 69729 h 428271"/>
                <a:gd name="connsiteX45" fmla="*/ 2605123 w 2719388"/>
                <a:gd name="connsiteY45" fmla="*/ 66130 h 428271"/>
                <a:gd name="connsiteX46" fmla="*/ 2581729 w 2719388"/>
                <a:gd name="connsiteY46" fmla="*/ 54883 h 428271"/>
                <a:gd name="connsiteX47" fmla="*/ 2579929 w 2719388"/>
                <a:gd name="connsiteY47" fmla="*/ 36889 h 428271"/>
                <a:gd name="connsiteX48" fmla="*/ 2589827 w 2719388"/>
                <a:gd name="connsiteY48" fmla="*/ 22943 h 428271"/>
                <a:gd name="connsiteX49" fmla="*/ 2629135 w 2719388"/>
                <a:gd name="connsiteY49" fmla="*/ 19119 h 428271"/>
                <a:gd name="connsiteX50" fmla="*/ 1119668 w 2719388"/>
                <a:gd name="connsiteY50" fmla="*/ 13496 h 428271"/>
                <a:gd name="connsiteX51" fmla="*/ 1143961 w 2719388"/>
                <a:gd name="connsiteY51" fmla="*/ 17995 h 428271"/>
                <a:gd name="connsiteX52" fmla="*/ 1158807 w 2719388"/>
                <a:gd name="connsiteY52" fmla="*/ 14846 h 428271"/>
                <a:gd name="connsiteX53" fmla="*/ 1271723 w 2719388"/>
                <a:gd name="connsiteY53" fmla="*/ 14846 h 428271"/>
                <a:gd name="connsiteX54" fmla="*/ 1294666 w 2719388"/>
                <a:gd name="connsiteY54" fmla="*/ 19794 h 428271"/>
                <a:gd name="connsiteX55" fmla="*/ 1298265 w 2719388"/>
                <a:gd name="connsiteY55" fmla="*/ 22943 h 428271"/>
                <a:gd name="connsiteX56" fmla="*/ 1296015 w 2719388"/>
                <a:gd name="connsiteY56" fmla="*/ 32840 h 428271"/>
                <a:gd name="connsiteX57" fmla="*/ 1289717 w 2719388"/>
                <a:gd name="connsiteY57" fmla="*/ 39139 h 428271"/>
                <a:gd name="connsiteX58" fmla="*/ 1284319 w 2719388"/>
                <a:gd name="connsiteY58" fmla="*/ 46336 h 428271"/>
                <a:gd name="connsiteX59" fmla="*/ 1251479 w 2719388"/>
                <a:gd name="connsiteY59" fmla="*/ 54884 h 428271"/>
                <a:gd name="connsiteX60" fmla="*/ 1234384 w 2719388"/>
                <a:gd name="connsiteY60" fmla="*/ 66580 h 428271"/>
                <a:gd name="connsiteX61" fmla="*/ 1219538 w 2719388"/>
                <a:gd name="connsiteY61" fmla="*/ 80076 h 428271"/>
                <a:gd name="connsiteX62" fmla="*/ 1207392 w 2719388"/>
                <a:gd name="connsiteY62" fmla="*/ 100320 h 428271"/>
                <a:gd name="connsiteX63" fmla="*/ 1210541 w 2719388"/>
                <a:gd name="connsiteY63" fmla="*/ 124613 h 428271"/>
                <a:gd name="connsiteX64" fmla="*/ 1210991 w 2719388"/>
                <a:gd name="connsiteY64" fmla="*/ 139008 h 428271"/>
                <a:gd name="connsiteX65" fmla="*/ 1200644 w 2719388"/>
                <a:gd name="connsiteY65" fmla="*/ 147106 h 428271"/>
                <a:gd name="connsiteX66" fmla="*/ 1206042 w 2719388"/>
                <a:gd name="connsiteY66" fmla="*/ 166900 h 428271"/>
                <a:gd name="connsiteX67" fmla="*/ 1201094 w 2719388"/>
                <a:gd name="connsiteY67" fmla="*/ 183095 h 428271"/>
                <a:gd name="connsiteX68" fmla="*/ 1189397 w 2719388"/>
                <a:gd name="connsiteY68" fmla="*/ 243377 h 428271"/>
                <a:gd name="connsiteX69" fmla="*/ 1179501 w 2719388"/>
                <a:gd name="connsiteY69" fmla="*/ 289263 h 428271"/>
                <a:gd name="connsiteX70" fmla="*/ 1186698 w 2719388"/>
                <a:gd name="connsiteY70" fmla="*/ 311307 h 428271"/>
                <a:gd name="connsiteX71" fmla="*/ 1196145 w 2719388"/>
                <a:gd name="connsiteY71" fmla="*/ 379686 h 428271"/>
                <a:gd name="connsiteX72" fmla="*/ 1199745 w 2719388"/>
                <a:gd name="connsiteY72" fmla="*/ 427372 h 428271"/>
                <a:gd name="connsiteX73" fmla="*/ 1029246 w 2719388"/>
                <a:gd name="connsiteY73" fmla="*/ 427372 h 428271"/>
                <a:gd name="connsiteX74" fmla="*/ 1021148 w 2719388"/>
                <a:gd name="connsiteY74" fmla="*/ 419724 h 428271"/>
                <a:gd name="connsiteX75" fmla="*/ 1016200 w 2719388"/>
                <a:gd name="connsiteY75" fmla="*/ 393182 h 428271"/>
                <a:gd name="connsiteX76" fmla="*/ 1007652 w 2719388"/>
                <a:gd name="connsiteY76" fmla="*/ 376087 h 428271"/>
                <a:gd name="connsiteX77" fmla="*/ 1000454 w 2719388"/>
                <a:gd name="connsiteY77" fmla="*/ 337848 h 428271"/>
                <a:gd name="connsiteX78" fmla="*/ 994156 w 2719388"/>
                <a:gd name="connsiteY78" fmla="*/ 295111 h 428271"/>
                <a:gd name="connsiteX79" fmla="*/ 989658 w 2719388"/>
                <a:gd name="connsiteY79" fmla="*/ 264071 h 428271"/>
                <a:gd name="connsiteX80" fmla="*/ 971213 w 2719388"/>
                <a:gd name="connsiteY80" fmla="*/ 163301 h 428271"/>
                <a:gd name="connsiteX81" fmla="*/ 963116 w 2719388"/>
                <a:gd name="connsiteY81" fmla="*/ 96721 h 428271"/>
                <a:gd name="connsiteX82" fmla="*/ 962666 w 2719388"/>
                <a:gd name="connsiteY82" fmla="*/ 73778 h 428271"/>
                <a:gd name="connsiteX83" fmla="*/ 962216 w 2719388"/>
                <a:gd name="connsiteY83" fmla="*/ 54434 h 428271"/>
                <a:gd name="connsiteX84" fmla="*/ 962216 w 2719388"/>
                <a:gd name="connsiteY84" fmla="*/ 47686 h 428271"/>
                <a:gd name="connsiteX85" fmla="*/ 957717 w 2719388"/>
                <a:gd name="connsiteY85" fmla="*/ 25643 h 428271"/>
                <a:gd name="connsiteX86" fmla="*/ 1040492 w 2719388"/>
                <a:gd name="connsiteY86" fmla="*/ 18895 h 428271"/>
                <a:gd name="connsiteX87" fmla="*/ 1044091 w 2719388"/>
                <a:gd name="connsiteY87" fmla="*/ 30141 h 428271"/>
                <a:gd name="connsiteX88" fmla="*/ 1089977 w 2719388"/>
                <a:gd name="connsiteY88" fmla="*/ 21594 h 428271"/>
                <a:gd name="connsiteX89" fmla="*/ 1089977 w 2719388"/>
                <a:gd name="connsiteY89" fmla="*/ 18445 h 428271"/>
                <a:gd name="connsiteX90" fmla="*/ 1119668 w 2719388"/>
                <a:gd name="connsiteY90" fmla="*/ 13496 h 428271"/>
                <a:gd name="connsiteX91" fmla="*/ 1458417 w 2719388"/>
                <a:gd name="connsiteY91" fmla="*/ 9897 h 428271"/>
                <a:gd name="connsiteX92" fmla="*/ 1474612 w 2719388"/>
                <a:gd name="connsiteY92" fmla="*/ 13496 h 428271"/>
                <a:gd name="connsiteX93" fmla="*/ 1480010 w 2719388"/>
                <a:gd name="connsiteY93" fmla="*/ 11247 h 428271"/>
                <a:gd name="connsiteX94" fmla="*/ 1499356 w 2719388"/>
                <a:gd name="connsiteY94" fmla="*/ 13496 h 428271"/>
                <a:gd name="connsiteX95" fmla="*/ 1499356 w 2719388"/>
                <a:gd name="connsiteY95" fmla="*/ 33290 h 428271"/>
                <a:gd name="connsiteX96" fmla="*/ 1501605 w 2719388"/>
                <a:gd name="connsiteY96" fmla="*/ 43637 h 428271"/>
                <a:gd name="connsiteX97" fmla="*/ 1499805 w 2719388"/>
                <a:gd name="connsiteY97" fmla="*/ 53534 h 428271"/>
                <a:gd name="connsiteX98" fmla="*/ 1505654 w 2719388"/>
                <a:gd name="connsiteY98" fmla="*/ 51735 h 428271"/>
                <a:gd name="connsiteX99" fmla="*/ 1509253 w 2719388"/>
                <a:gd name="connsiteY99" fmla="*/ 64780 h 428271"/>
                <a:gd name="connsiteX100" fmla="*/ 1506553 w 2719388"/>
                <a:gd name="connsiteY100" fmla="*/ 69279 h 428271"/>
                <a:gd name="connsiteX101" fmla="*/ 1506103 w 2719388"/>
                <a:gd name="connsiteY101" fmla="*/ 71978 h 428271"/>
                <a:gd name="connsiteX102" fmla="*/ 1523198 w 2719388"/>
                <a:gd name="connsiteY102" fmla="*/ 84575 h 428271"/>
                <a:gd name="connsiteX103" fmla="*/ 1519150 w 2719388"/>
                <a:gd name="connsiteY103" fmla="*/ 148906 h 428271"/>
                <a:gd name="connsiteX104" fmla="*/ 1512402 w 2719388"/>
                <a:gd name="connsiteY104" fmla="*/ 245177 h 428271"/>
                <a:gd name="connsiteX105" fmla="*/ 1522298 w 2719388"/>
                <a:gd name="connsiteY105" fmla="*/ 404879 h 428271"/>
                <a:gd name="connsiteX106" fmla="*/ 1526797 w 2719388"/>
                <a:gd name="connsiteY106" fmla="*/ 425123 h 428271"/>
                <a:gd name="connsiteX107" fmla="*/ 1526797 w 2719388"/>
                <a:gd name="connsiteY107" fmla="*/ 427822 h 428271"/>
                <a:gd name="connsiteX108" fmla="*/ 1402184 w 2719388"/>
                <a:gd name="connsiteY108" fmla="*/ 427822 h 428271"/>
                <a:gd name="connsiteX109" fmla="*/ 1402184 w 2719388"/>
                <a:gd name="connsiteY109" fmla="*/ 422874 h 428271"/>
                <a:gd name="connsiteX110" fmla="*/ 1402184 w 2719388"/>
                <a:gd name="connsiteY110" fmla="*/ 351795 h 428271"/>
                <a:gd name="connsiteX111" fmla="*/ 1397235 w 2719388"/>
                <a:gd name="connsiteY111" fmla="*/ 194792 h 428271"/>
                <a:gd name="connsiteX112" fmla="*/ 1392737 w 2719388"/>
                <a:gd name="connsiteY112" fmla="*/ 138110 h 428271"/>
                <a:gd name="connsiteX113" fmla="*/ 1401284 w 2719388"/>
                <a:gd name="connsiteY113" fmla="*/ 118765 h 428271"/>
                <a:gd name="connsiteX114" fmla="*/ 1402634 w 2719388"/>
                <a:gd name="connsiteY114" fmla="*/ 86824 h 428271"/>
                <a:gd name="connsiteX115" fmla="*/ 1406232 w 2719388"/>
                <a:gd name="connsiteY115" fmla="*/ 62081 h 428271"/>
                <a:gd name="connsiteX116" fmla="*/ 1387788 w 2719388"/>
                <a:gd name="connsiteY116" fmla="*/ 41838 h 428271"/>
                <a:gd name="connsiteX117" fmla="*/ 1382390 w 2719388"/>
                <a:gd name="connsiteY117" fmla="*/ 22043 h 428271"/>
                <a:gd name="connsiteX118" fmla="*/ 1384189 w 2719388"/>
                <a:gd name="connsiteY118" fmla="*/ 13496 h 428271"/>
                <a:gd name="connsiteX119" fmla="*/ 1458417 w 2719388"/>
                <a:gd name="connsiteY119" fmla="*/ 9897 h 428271"/>
                <a:gd name="connsiteX120" fmla="*/ 2242532 w 2719388"/>
                <a:gd name="connsiteY120" fmla="*/ 8098 h 428271"/>
                <a:gd name="connsiteX121" fmla="*/ 2272223 w 2719388"/>
                <a:gd name="connsiteY121" fmla="*/ 10797 h 428271"/>
                <a:gd name="connsiteX122" fmla="*/ 2277622 w 2719388"/>
                <a:gd name="connsiteY122" fmla="*/ 11697 h 428271"/>
                <a:gd name="connsiteX123" fmla="*/ 2287969 w 2719388"/>
                <a:gd name="connsiteY123" fmla="*/ 16645 h 428271"/>
                <a:gd name="connsiteX124" fmla="*/ 2285719 w 2719388"/>
                <a:gd name="connsiteY124" fmla="*/ 41388 h 428271"/>
                <a:gd name="connsiteX125" fmla="*/ 2286169 w 2719388"/>
                <a:gd name="connsiteY125" fmla="*/ 44537 h 428271"/>
                <a:gd name="connsiteX126" fmla="*/ 2296966 w 2719388"/>
                <a:gd name="connsiteY126" fmla="*/ 63431 h 428271"/>
                <a:gd name="connsiteX127" fmla="*/ 2286169 w 2719388"/>
                <a:gd name="connsiteY127" fmla="*/ 93122 h 428271"/>
                <a:gd name="connsiteX128" fmla="*/ 2281670 w 2719388"/>
                <a:gd name="connsiteY128" fmla="*/ 117416 h 428271"/>
                <a:gd name="connsiteX129" fmla="*/ 2277172 w 2719388"/>
                <a:gd name="connsiteY129" fmla="*/ 149806 h 428271"/>
                <a:gd name="connsiteX130" fmla="*/ 2272223 w 2719388"/>
                <a:gd name="connsiteY130" fmla="*/ 181297 h 428271"/>
                <a:gd name="connsiteX131" fmla="*/ 2272673 w 2719388"/>
                <a:gd name="connsiteY131" fmla="*/ 227633 h 428271"/>
                <a:gd name="connsiteX132" fmla="*/ 2269974 w 2719388"/>
                <a:gd name="connsiteY132" fmla="*/ 278917 h 428271"/>
                <a:gd name="connsiteX133" fmla="*/ 2258728 w 2719388"/>
                <a:gd name="connsiteY133" fmla="*/ 331102 h 428271"/>
                <a:gd name="connsiteX134" fmla="*/ 2244332 w 2719388"/>
                <a:gd name="connsiteY134" fmla="*/ 384636 h 428271"/>
                <a:gd name="connsiteX135" fmla="*/ 2226337 w 2719388"/>
                <a:gd name="connsiteY135" fmla="*/ 427822 h 428271"/>
                <a:gd name="connsiteX136" fmla="*/ 2073382 w 2719388"/>
                <a:gd name="connsiteY136" fmla="*/ 427822 h 428271"/>
                <a:gd name="connsiteX137" fmla="*/ 2080580 w 2719388"/>
                <a:gd name="connsiteY137" fmla="*/ 398581 h 428271"/>
                <a:gd name="connsiteX138" fmla="*/ 2105773 w 2719388"/>
                <a:gd name="connsiteY138" fmla="*/ 318056 h 428271"/>
                <a:gd name="connsiteX139" fmla="*/ 2139062 w 2719388"/>
                <a:gd name="connsiteY139" fmla="*/ 217286 h 428271"/>
                <a:gd name="connsiteX140" fmla="*/ 2149409 w 2719388"/>
                <a:gd name="connsiteY140" fmla="*/ 149356 h 428271"/>
                <a:gd name="connsiteX141" fmla="*/ 2164705 w 2719388"/>
                <a:gd name="connsiteY141" fmla="*/ 82775 h 428271"/>
                <a:gd name="connsiteX142" fmla="*/ 2180000 w 2719388"/>
                <a:gd name="connsiteY142" fmla="*/ 57583 h 428271"/>
                <a:gd name="connsiteX143" fmla="*/ 2167404 w 2719388"/>
                <a:gd name="connsiteY143" fmla="*/ 42738 h 428271"/>
                <a:gd name="connsiteX144" fmla="*/ 2160206 w 2719388"/>
                <a:gd name="connsiteY144" fmla="*/ 26542 h 428271"/>
                <a:gd name="connsiteX145" fmla="*/ 2157507 w 2719388"/>
                <a:gd name="connsiteY145" fmla="*/ 15296 h 428271"/>
                <a:gd name="connsiteX146" fmla="*/ 2242532 w 2719388"/>
                <a:gd name="connsiteY146" fmla="*/ 8098 h 428271"/>
                <a:gd name="connsiteX147" fmla="*/ 1679309 w 2719388"/>
                <a:gd name="connsiteY147" fmla="*/ 7704 h 428271"/>
                <a:gd name="connsiteX148" fmla="*/ 1732386 w 2719388"/>
                <a:gd name="connsiteY148" fmla="*/ 15295 h 428271"/>
                <a:gd name="connsiteX149" fmla="*/ 1731936 w 2719388"/>
                <a:gd name="connsiteY149" fmla="*/ 22043 h 428271"/>
                <a:gd name="connsiteX150" fmla="*/ 1728787 w 2719388"/>
                <a:gd name="connsiteY150" fmla="*/ 36439 h 428271"/>
                <a:gd name="connsiteX151" fmla="*/ 1707643 w 2719388"/>
                <a:gd name="connsiteY151" fmla="*/ 43637 h 428271"/>
                <a:gd name="connsiteX152" fmla="*/ 1682451 w 2719388"/>
                <a:gd name="connsiteY152" fmla="*/ 62081 h 428271"/>
                <a:gd name="connsiteX153" fmla="*/ 1689199 w 2719388"/>
                <a:gd name="connsiteY153" fmla="*/ 86374 h 428271"/>
                <a:gd name="connsiteX154" fmla="*/ 1684700 w 2719388"/>
                <a:gd name="connsiteY154" fmla="*/ 112017 h 428271"/>
                <a:gd name="connsiteX155" fmla="*/ 1678852 w 2719388"/>
                <a:gd name="connsiteY155" fmla="*/ 154304 h 428271"/>
                <a:gd name="connsiteX156" fmla="*/ 1680651 w 2719388"/>
                <a:gd name="connsiteY156" fmla="*/ 217735 h 428271"/>
                <a:gd name="connsiteX157" fmla="*/ 1680651 w 2719388"/>
                <a:gd name="connsiteY157" fmla="*/ 237529 h 428271"/>
                <a:gd name="connsiteX158" fmla="*/ 1681101 w 2719388"/>
                <a:gd name="connsiteY158" fmla="*/ 274868 h 428271"/>
                <a:gd name="connsiteX159" fmla="*/ 1683351 w 2719388"/>
                <a:gd name="connsiteY159" fmla="*/ 309058 h 428271"/>
                <a:gd name="connsiteX160" fmla="*/ 1697296 w 2719388"/>
                <a:gd name="connsiteY160" fmla="*/ 426472 h 428271"/>
                <a:gd name="connsiteX161" fmla="*/ 1575832 w 2719388"/>
                <a:gd name="connsiteY161" fmla="*/ 426472 h 428271"/>
                <a:gd name="connsiteX162" fmla="*/ 1576282 w 2719388"/>
                <a:gd name="connsiteY162" fmla="*/ 420624 h 428271"/>
                <a:gd name="connsiteX163" fmla="*/ 1576282 w 2719388"/>
                <a:gd name="connsiteY163" fmla="*/ 386884 h 428271"/>
                <a:gd name="connsiteX164" fmla="*/ 1584379 w 2719388"/>
                <a:gd name="connsiteY164" fmla="*/ 346846 h 428271"/>
                <a:gd name="connsiteX165" fmla="*/ 1579431 w 2719388"/>
                <a:gd name="connsiteY165" fmla="*/ 266770 h 428271"/>
                <a:gd name="connsiteX166" fmla="*/ 1574032 w 2719388"/>
                <a:gd name="connsiteY166" fmla="*/ 133611 h 428271"/>
                <a:gd name="connsiteX167" fmla="*/ 1576732 w 2719388"/>
                <a:gd name="connsiteY167" fmla="*/ 61631 h 428271"/>
                <a:gd name="connsiteX168" fmla="*/ 1572233 w 2719388"/>
                <a:gd name="connsiteY168" fmla="*/ 30591 h 428271"/>
                <a:gd name="connsiteX169" fmla="*/ 1575832 w 2719388"/>
                <a:gd name="connsiteY169" fmla="*/ 23843 h 428271"/>
                <a:gd name="connsiteX170" fmla="*/ 1576282 w 2719388"/>
                <a:gd name="connsiteY170" fmla="*/ 11696 h 428271"/>
                <a:gd name="connsiteX171" fmla="*/ 1606873 w 2719388"/>
                <a:gd name="connsiteY171" fmla="*/ 11696 h 428271"/>
                <a:gd name="connsiteX172" fmla="*/ 1621269 w 2719388"/>
                <a:gd name="connsiteY172" fmla="*/ 14845 h 428271"/>
                <a:gd name="connsiteX173" fmla="*/ 1633415 w 2719388"/>
                <a:gd name="connsiteY173" fmla="*/ 9897 h 428271"/>
                <a:gd name="connsiteX174" fmla="*/ 1679309 w 2719388"/>
                <a:gd name="connsiteY174" fmla="*/ 7704 h 428271"/>
                <a:gd name="connsiteX175" fmla="*/ 22899 w 2719388"/>
                <a:gd name="connsiteY175" fmla="*/ 7648 h 428271"/>
                <a:gd name="connsiteX176" fmla="*/ 29647 w 2719388"/>
                <a:gd name="connsiteY176" fmla="*/ 15746 h 428271"/>
                <a:gd name="connsiteX177" fmla="*/ 53040 w 2719388"/>
                <a:gd name="connsiteY177" fmla="*/ 8548 h 428271"/>
                <a:gd name="connsiteX178" fmla="*/ 109723 w 2719388"/>
                <a:gd name="connsiteY178" fmla="*/ 8548 h 428271"/>
                <a:gd name="connsiteX179" fmla="*/ 126368 w 2719388"/>
                <a:gd name="connsiteY179" fmla="*/ 22944 h 428271"/>
                <a:gd name="connsiteX180" fmla="*/ 111073 w 2719388"/>
                <a:gd name="connsiteY180" fmla="*/ 39139 h 428271"/>
                <a:gd name="connsiteX181" fmla="*/ 102076 w 2719388"/>
                <a:gd name="connsiteY181" fmla="*/ 45887 h 428271"/>
                <a:gd name="connsiteX182" fmla="*/ 88580 w 2719388"/>
                <a:gd name="connsiteY182" fmla="*/ 63881 h 428271"/>
                <a:gd name="connsiteX183" fmla="*/ 75534 w 2719388"/>
                <a:gd name="connsiteY183" fmla="*/ 157003 h 428271"/>
                <a:gd name="connsiteX184" fmla="*/ 108374 w 2719388"/>
                <a:gd name="connsiteY184" fmla="*/ 294662 h 428271"/>
                <a:gd name="connsiteX185" fmla="*/ 121420 w 2719388"/>
                <a:gd name="connsiteY185" fmla="*/ 358093 h 428271"/>
                <a:gd name="connsiteX186" fmla="*/ 136715 w 2719388"/>
                <a:gd name="connsiteY186" fmla="*/ 389583 h 428271"/>
                <a:gd name="connsiteX187" fmla="*/ 139414 w 2719388"/>
                <a:gd name="connsiteY187" fmla="*/ 376987 h 428271"/>
                <a:gd name="connsiteX188" fmla="*/ 128617 w 2719388"/>
                <a:gd name="connsiteY188" fmla="*/ 281616 h 428271"/>
                <a:gd name="connsiteX189" fmla="*/ 127268 w 2719388"/>
                <a:gd name="connsiteY189" fmla="*/ 157003 h 428271"/>
                <a:gd name="connsiteX190" fmla="*/ 118720 w 2719388"/>
                <a:gd name="connsiteY190" fmla="*/ 108868 h 428271"/>
                <a:gd name="connsiteX191" fmla="*/ 113322 w 2719388"/>
                <a:gd name="connsiteY191" fmla="*/ 99421 h 428271"/>
                <a:gd name="connsiteX192" fmla="*/ 107924 w 2719388"/>
                <a:gd name="connsiteY192" fmla="*/ 64781 h 428271"/>
                <a:gd name="connsiteX193" fmla="*/ 130417 w 2719388"/>
                <a:gd name="connsiteY193" fmla="*/ 14396 h 428271"/>
                <a:gd name="connsiteX194" fmla="*/ 142113 w 2719388"/>
                <a:gd name="connsiteY194" fmla="*/ 13047 h 428271"/>
                <a:gd name="connsiteX195" fmla="*/ 144363 w 2719388"/>
                <a:gd name="connsiteY195" fmla="*/ 19795 h 428271"/>
                <a:gd name="connsiteX196" fmla="*/ 156959 w 2719388"/>
                <a:gd name="connsiteY196" fmla="*/ 12597 h 428271"/>
                <a:gd name="connsiteX197" fmla="*/ 209144 w 2719388"/>
                <a:gd name="connsiteY197" fmla="*/ 12597 h 428271"/>
                <a:gd name="connsiteX198" fmla="*/ 217242 w 2719388"/>
                <a:gd name="connsiteY198" fmla="*/ 20694 h 428271"/>
                <a:gd name="connsiteX199" fmla="*/ 192499 w 2719388"/>
                <a:gd name="connsiteY199" fmla="*/ 48136 h 428271"/>
                <a:gd name="connsiteX200" fmla="*/ 190700 w 2719388"/>
                <a:gd name="connsiteY200" fmla="*/ 50835 h 428271"/>
                <a:gd name="connsiteX201" fmla="*/ 172705 w 2719388"/>
                <a:gd name="connsiteY201" fmla="*/ 104819 h 428271"/>
                <a:gd name="connsiteX202" fmla="*/ 190700 w 2719388"/>
                <a:gd name="connsiteY202" fmla="*/ 231681 h 428271"/>
                <a:gd name="connsiteX203" fmla="*/ 210944 w 2719388"/>
                <a:gd name="connsiteY203" fmla="*/ 387334 h 428271"/>
                <a:gd name="connsiteX204" fmla="*/ 216792 w 2719388"/>
                <a:gd name="connsiteY204" fmla="*/ 415675 h 428271"/>
                <a:gd name="connsiteX205" fmla="*/ 217692 w 2719388"/>
                <a:gd name="connsiteY205" fmla="*/ 426022 h 428271"/>
                <a:gd name="connsiteX206" fmla="*/ 68336 w 2719388"/>
                <a:gd name="connsiteY206" fmla="*/ 426022 h 428271"/>
                <a:gd name="connsiteX207" fmla="*/ 38195 w 2719388"/>
                <a:gd name="connsiteY207" fmla="*/ 354044 h 428271"/>
                <a:gd name="connsiteX208" fmla="*/ 29647 w 2719388"/>
                <a:gd name="connsiteY208" fmla="*/ 209188 h 428271"/>
                <a:gd name="connsiteX209" fmla="*/ 30997 w 2719388"/>
                <a:gd name="connsiteY209" fmla="*/ 148006 h 428271"/>
                <a:gd name="connsiteX210" fmla="*/ 19300 w 2719388"/>
                <a:gd name="connsiteY210" fmla="*/ 106619 h 428271"/>
                <a:gd name="connsiteX211" fmla="*/ 14802 w 2719388"/>
                <a:gd name="connsiteY211" fmla="*/ 100770 h 428271"/>
                <a:gd name="connsiteX212" fmla="*/ 856 w 2719388"/>
                <a:gd name="connsiteY212" fmla="*/ 62982 h 428271"/>
                <a:gd name="connsiteX213" fmla="*/ 14802 w 2719388"/>
                <a:gd name="connsiteY213" fmla="*/ 9898 h 428271"/>
                <a:gd name="connsiteX214" fmla="*/ 1939147 w 2719388"/>
                <a:gd name="connsiteY214" fmla="*/ 7127 h 428271"/>
                <a:gd name="connsiteX215" fmla="*/ 1964066 w 2719388"/>
                <a:gd name="connsiteY215" fmla="*/ 8098 h 428271"/>
                <a:gd name="connsiteX216" fmla="*/ 2017600 w 2719388"/>
                <a:gd name="connsiteY216" fmla="*/ 13046 h 428271"/>
                <a:gd name="connsiteX217" fmla="*/ 2018500 w 2719388"/>
                <a:gd name="connsiteY217" fmla="*/ 7198 h 428271"/>
                <a:gd name="connsiteX218" fmla="*/ 2066635 w 2719388"/>
                <a:gd name="connsiteY218" fmla="*/ 12596 h 428271"/>
                <a:gd name="connsiteX219" fmla="*/ 2066635 w 2719388"/>
                <a:gd name="connsiteY219" fmla="*/ 25192 h 428271"/>
                <a:gd name="connsiteX220" fmla="*/ 2059437 w 2719388"/>
                <a:gd name="connsiteY220" fmla="*/ 82775 h 428271"/>
                <a:gd name="connsiteX221" fmla="*/ 2056738 w 2719388"/>
                <a:gd name="connsiteY221" fmla="*/ 103469 h 428271"/>
                <a:gd name="connsiteX222" fmla="*/ 2055388 w 2719388"/>
                <a:gd name="connsiteY222" fmla="*/ 144856 h 428271"/>
                <a:gd name="connsiteX223" fmla="*/ 2054939 w 2719388"/>
                <a:gd name="connsiteY223" fmla="*/ 148005 h 428271"/>
                <a:gd name="connsiteX224" fmla="*/ 2054939 w 2719388"/>
                <a:gd name="connsiteY224" fmla="*/ 156103 h 428271"/>
                <a:gd name="connsiteX225" fmla="*/ 2049990 w 2719388"/>
                <a:gd name="connsiteY225" fmla="*/ 281615 h 428271"/>
                <a:gd name="connsiteX226" fmla="*/ 2049990 w 2719388"/>
                <a:gd name="connsiteY226" fmla="*/ 283415 h 428271"/>
                <a:gd name="connsiteX227" fmla="*/ 2049090 w 2719388"/>
                <a:gd name="connsiteY227" fmla="*/ 302759 h 428271"/>
                <a:gd name="connsiteX228" fmla="*/ 2046391 w 2719388"/>
                <a:gd name="connsiteY228" fmla="*/ 326152 h 428271"/>
                <a:gd name="connsiteX229" fmla="*/ 2045491 w 2719388"/>
                <a:gd name="connsiteY229" fmla="*/ 336948 h 428271"/>
                <a:gd name="connsiteX230" fmla="*/ 2041443 w 2719388"/>
                <a:gd name="connsiteY230" fmla="*/ 352694 h 428271"/>
                <a:gd name="connsiteX231" fmla="*/ 2040993 w 2719388"/>
                <a:gd name="connsiteY231" fmla="*/ 358992 h 428271"/>
                <a:gd name="connsiteX232" fmla="*/ 2039643 w 2719388"/>
                <a:gd name="connsiteY232" fmla="*/ 382835 h 428271"/>
                <a:gd name="connsiteX233" fmla="*/ 2042792 w 2719388"/>
                <a:gd name="connsiteY233" fmla="*/ 397680 h 428271"/>
                <a:gd name="connsiteX234" fmla="*/ 2047291 w 2719388"/>
                <a:gd name="connsiteY234" fmla="*/ 427821 h 428271"/>
                <a:gd name="connsiteX235" fmla="*/ 1901534 w 2719388"/>
                <a:gd name="connsiteY235" fmla="*/ 427821 h 428271"/>
                <a:gd name="connsiteX236" fmla="*/ 1912330 w 2719388"/>
                <a:gd name="connsiteY236" fmla="*/ 285214 h 428271"/>
                <a:gd name="connsiteX237" fmla="*/ 1939322 w 2719388"/>
                <a:gd name="connsiteY237" fmla="*/ 137658 h 428271"/>
                <a:gd name="connsiteX238" fmla="*/ 1940222 w 2719388"/>
                <a:gd name="connsiteY238" fmla="*/ 114715 h 428271"/>
                <a:gd name="connsiteX239" fmla="*/ 1944721 w 2719388"/>
                <a:gd name="connsiteY239" fmla="*/ 93572 h 428271"/>
                <a:gd name="connsiteX240" fmla="*/ 1935723 w 2719388"/>
                <a:gd name="connsiteY240" fmla="*/ 71978 h 428271"/>
                <a:gd name="connsiteX241" fmla="*/ 1926726 w 2719388"/>
                <a:gd name="connsiteY241" fmla="*/ 58932 h 428271"/>
                <a:gd name="connsiteX242" fmla="*/ 1897485 w 2719388"/>
                <a:gd name="connsiteY242" fmla="*/ 44986 h 428271"/>
                <a:gd name="connsiteX243" fmla="*/ 1860596 w 2719388"/>
                <a:gd name="connsiteY243" fmla="*/ 41388 h 428271"/>
                <a:gd name="connsiteX244" fmla="*/ 1848000 w 2719388"/>
                <a:gd name="connsiteY244" fmla="*/ 24293 h 428271"/>
                <a:gd name="connsiteX245" fmla="*/ 1843051 w 2719388"/>
                <a:gd name="connsiteY245" fmla="*/ 18894 h 428271"/>
                <a:gd name="connsiteX246" fmla="*/ 1939147 w 2719388"/>
                <a:gd name="connsiteY246" fmla="*/ 7127 h 428271"/>
                <a:gd name="connsiteX247" fmla="*/ 383690 w 2719388"/>
                <a:gd name="connsiteY247" fmla="*/ 3599 h 428271"/>
                <a:gd name="connsiteX248" fmla="*/ 506953 w 2719388"/>
                <a:gd name="connsiteY248" fmla="*/ 3599 h 428271"/>
                <a:gd name="connsiteX249" fmla="*/ 515950 w 2719388"/>
                <a:gd name="connsiteY249" fmla="*/ 4949 h 428271"/>
                <a:gd name="connsiteX250" fmla="*/ 515051 w 2719388"/>
                <a:gd name="connsiteY250" fmla="*/ 27892 h 428271"/>
                <a:gd name="connsiteX251" fmla="*/ 512801 w 2719388"/>
                <a:gd name="connsiteY251" fmla="*/ 39588 h 428271"/>
                <a:gd name="connsiteX252" fmla="*/ 519099 w 2719388"/>
                <a:gd name="connsiteY252" fmla="*/ 55783 h 428271"/>
                <a:gd name="connsiteX253" fmla="*/ 523598 w 2719388"/>
                <a:gd name="connsiteY253" fmla="*/ 70629 h 428271"/>
                <a:gd name="connsiteX254" fmla="*/ 524948 w 2719388"/>
                <a:gd name="connsiteY254" fmla="*/ 79626 h 428271"/>
                <a:gd name="connsiteX255" fmla="*/ 524498 w 2719388"/>
                <a:gd name="connsiteY255" fmla="*/ 88623 h 428271"/>
                <a:gd name="connsiteX256" fmla="*/ 522248 w 2719388"/>
                <a:gd name="connsiteY256" fmla="*/ 117415 h 428271"/>
                <a:gd name="connsiteX257" fmla="*/ 515950 w 2719388"/>
                <a:gd name="connsiteY257" fmla="*/ 139908 h 428271"/>
                <a:gd name="connsiteX258" fmla="*/ 512801 w 2719388"/>
                <a:gd name="connsiteY258" fmla="*/ 168249 h 428271"/>
                <a:gd name="connsiteX259" fmla="*/ 520449 w 2719388"/>
                <a:gd name="connsiteY259" fmla="*/ 218184 h 428271"/>
                <a:gd name="connsiteX260" fmla="*/ 531246 w 2719388"/>
                <a:gd name="connsiteY260" fmla="*/ 311306 h 428271"/>
                <a:gd name="connsiteX261" fmla="*/ 533495 w 2719388"/>
                <a:gd name="connsiteY261" fmla="*/ 428271 h 428271"/>
                <a:gd name="connsiteX262" fmla="*/ 412032 w 2719388"/>
                <a:gd name="connsiteY262" fmla="*/ 428271 h 428271"/>
                <a:gd name="connsiteX263" fmla="*/ 414281 w 2719388"/>
                <a:gd name="connsiteY263" fmla="*/ 402629 h 428271"/>
                <a:gd name="connsiteX264" fmla="*/ 415630 w 2719388"/>
                <a:gd name="connsiteY264" fmla="*/ 384184 h 428271"/>
                <a:gd name="connsiteX265" fmla="*/ 413381 w 2719388"/>
                <a:gd name="connsiteY265" fmla="*/ 333350 h 428271"/>
                <a:gd name="connsiteX266" fmla="*/ 413381 w 2719388"/>
                <a:gd name="connsiteY266" fmla="*/ 231230 h 428271"/>
                <a:gd name="connsiteX267" fmla="*/ 423728 w 2719388"/>
                <a:gd name="connsiteY267" fmla="*/ 138109 h 428271"/>
                <a:gd name="connsiteX268" fmla="*/ 430476 w 2719388"/>
                <a:gd name="connsiteY268" fmla="*/ 119664 h 428271"/>
                <a:gd name="connsiteX269" fmla="*/ 412032 w 2719388"/>
                <a:gd name="connsiteY269" fmla="*/ 88623 h 428271"/>
                <a:gd name="connsiteX270" fmla="*/ 409782 w 2719388"/>
                <a:gd name="connsiteY270" fmla="*/ 58932 h 428271"/>
                <a:gd name="connsiteX271" fmla="*/ 394937 w 2719388"/>
                <a:gd name="connsiteY271" fmla="*/ 41837 h 428271"/>
                <a:gd name="connsiteX272" fmla="*/ 361647 w 2719388"/>
                <a:gd name="connsiteY272" fmla="*/ 34640 h 428271"/>
                <a:gd name="connsiteX273" fmla="*/ 355799 w 2719388"/>
                <a:gd name="connsiteY273" fmla="*/ 23393 h 428271"/>
                <a:gd name="connsiteX274" fmla="*/ 351300 w 2719388"/>
                <a:gd name="connsiteY274" fmla="*/ 15295 h 428271"/>
                <a:gd name="connsiteX275" fmla="*/ 383690 w 2719388"/>
                <a:gd name="connsiteY275" fmla="*/ 3599 h 428271"/>
                <a:gd name="connsiteX276" fmla="*/ 762026 w 2719388"/>
                <a:gd name="connsiteY276" fmla="*/ 0 h 428271"/>
                <a:gd name="connsiteX277" fmla="*/ 783620 w 2719388"/>
                <a:gd name="connsiteY277" fmla="*/ 31940 h 428271"/>
                <a:gd name="connsiteX278" fmla="*/ 771923 w 2719388"/>
                <a:gd name="connsiteY278" fmla="*/ 46786 h 428271"/>
                <a:gd name="connsiteX279" fmla="*/ 762926 w 2719388"/>
                <a:gd name="connsiteY279" fmla="*/ 63881 h 428271"/>
                <a:gd name="connsiteX280" fmla="*/ 762026 w 2719388"/>
                <a:gd name="connsiteY280" fmla="*/ 98070 h 428271"/>
                <a:gd name="connsiteX281" fmla="*/ 744931 w 2719388"/>
                <a:gd name="connsiteY281" fmla="*/ 126863 h 428271"/>
                <a:gd name="connsiteX282" fmla="*/ 753029 w 2719388"/>
                <a:gd name="connsiteY282" fmla="*/ 243378 h 428271"/>
                <a:gd name="connsiteX283" fmla="*/ 729186 w 2719388"/>
                <a:gd name="connsiteY283" fmla="*/ 398581 h 428271"/>
                <a:gd name="connsiteX284" fmla="*/ 729636 w 2719388"/>
                <a:gd name="connsiteY284" fmla="*/ 427372 h 428271"/>
                <a:gd name="connsiteX285" fmla="*/ 609972 w 2719388"/>
                <a:gd name="connsiteY285" fmla="*/ 427372 h 428271"/>
                <a:gd name="connsiteX286" fmla="*/ 624368 w 2719388"/>
                <a:gd name="connsiteY286" fmla="*/ 327952 h 428271"/>
                <a:gd name="connsiteX287" fmla="*/ 631565 w 2719388"/>
                <a:gd name="connsiteY287" fmla="*/ 216386 h 428271"/>
                <a:gd name="connsiteX288" fmla="*/ 635614 w 2719388"/>
                <a:gd name="connsiteY288" fmla="*/ 164202 h 428271"/>
                <a:gd name="connsiteX289" fmla="*/ 643262 w 2719388"/>
                <a:gd name="connsiteY289" fmla="*/ 106168 h 428271"/>
                <a:gd name="connsiteX290" fmla="*/ 654059 w 2719388"/>
                <a:gd name="connsiteY290" fmla="*/ 72428 h 428271"/>
                <a:gd name="connsiteX291" fmla="*/ 654059 w 2719388"/>
                <a:gd name="connsiteY291" fmla="*/ 69729 h 428271"/>
                <a:gd name="connsiteX292" fmla="*/ 656308 w 2719388"/>
                <a:gd name="connsiteY292" fmla="*/ 55783 h 428271"/>
                <a:gd name="connsiteX293" fmla="*/ 659457 w 2719388"/>
                <a:gd name="connsiteY293" fmla="*/ 52184 h 428271"/>
                <a:gd name="connsiteX294" fmla="*/ 673853 w 2719388"/>
                <a:gd name="connsiteY294" fmla="*/ 36889 h 428271"/>
                <a:gd name="connsiteX295" fmla="*/ 672953 w 2719388"/>
                <a:gd name="connsiteY295" fmla="*/ 28341 h 428271"/>
                <a:gd name="connsiteX296" fmla="*/ 671154 w 2719388"/>
                <a:gd name="connsiteY296" fmla="*/ 14845 h 428271"/>
                <a:gd name="connsiteX297" fmla="*/ 672503 w 2719388"/>
                <a:gd name="connsiteY297" fmla="*/ 900 h 428271"/>
                <a:gd name="connsiteX298" fmla="*/ 762026 w 2719388"/>
                <a:gd name="connsiteY298" fmla="*/ 0 h 42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</a:cxnLst>
              <a:rect l="l" t="t" r="r" b="b"/>
              <a:pathLst>
                <a:path w="2719388" h="428271">
                  <a:moveTo>
                    <a:pt x="1087278" y="113816"/>
                  </a:moveTo>
                  <a:cubicBezTo>
                    <a:pt x="1087278" y="113816"/>
                    <a:pt x="1087728" y="154753"/>
                    <a:pt x="1087278" y="166450"/>
                  </a:cubicBezTo>
                  <a:cubicBezTo>
                    <a:pt x="1086828" y="173648"/>
                    <a:pt x="1086828" y="178147"/>
                    <a:pt x="1086379" y="180396"/>
                  </a:cubicBezTo>
                  <a:cubicBezTo>
                    <a:pt x="1086379" y="179496"/>
                    <a:pt x="1086828" y="178597"/>
                    <a:pt x="1086828" y="178147"/>
                  </a:cubicBezTo>
                  <a:cubicBezTo>
                    <a:pt x="1087728" y="172748"/>
                    <a:pt x="1089977" y="163751"/>
                    <a:pt x="1092677" y="159252"/>
                  </a:cubicBezTo>
                  <a:cubicBezTo>
                    <a:pt x="1096725" y="152504"/>
                    <a:pt x="1100774" y="139908"/>
                    <a:pt x="1100324" y="133160"/>
                  </a:cubicBezTo>
                  <a:cubicBezTo>
                    <a:pt x="1099875" y="126412"/>
                    <a:pt x="1087278" y="113816"/>
                    <a:pt x="1087278" y="113816"/>
                  </a:cubicBezTo>
                  <a:close/>
                  <a:moveTo>
                    <a:pt x="2629135" y="19119"/>
                  </a:moveTo>
                  <a:cubicBezTo>
                    <a:pt x="2645499" y="18332"/>
                    <a:pt x="2662031" y="18895"/>
                    <a:pt x="2669454" y="23393"/>
                  </a:cubicBezTo>
                  <a:cubicBezTo>
                    <a:pt x="2669454" y="23393"/>
                    <a:pt x="2676201" y="32840"/>
                    <a:pt x="2676201" y="46786"/>
                  </a:cubicBezTo>
                  <a:cubicBezTo>
                    <a:pt x="2676201" y="60732"/>
                    <a:pt x="2683849" y="75577"/>
                    <a:pt x="2689248" y="79176"/>
                  </a:cubicBezTo>
                  <a:cubicBezTo>
                    <a:pt x="2694646" y="82775"/>
                    <a:pt x="2696445" y="75127"/>
                    <a:pt x="2697795" y="62081"/>
                  </a:cubicBezTo>
                  <a:cubicBezTo>
                    <a:pt x="2699144" y="49035"/>
                    <a:pt x="2700944" y="25192"/>
                    <a:pt x="2700944" y="25192"/>
                  </a:cubicBezTo>
                  <a:lnTo>
                    <a:pt x="2707692" y="25642"/>
                  </a:lnTo>
                  <a:cubicBezTo>
                    <a:pt x="2707692" y="25642"/>
                    <a:pt x="2710391" y="101219"/>
                    <a:pt x="2719388" y="123714"/>
                  </a:cubicBezTo>
                  <a:cubicBezTo>
                    <a:pt x="2719388" y="123714"/>
                    <a:pt x="2713540" y="153405"/>
                    <a:pt x="2691947" y="166451"/>
                  </a:cubicBezTo>
                  <a:cubicBezTo>
                    <a:pt x="2691947" y="166451"/>
                    <a:pt x="2684749" y="183545"/>
                    <a:pt x="2691497" y="236180"/>
                  </a:cubicBezTo>
                  <a:cubicBezTo>
                    <a:pt x="2697795" y="287014"/>
                    <a:pt x="2700944" y="361692"/>
                    <a:pt x="2681600" y="426922"/>
                  </a:cubicBezTo>
                  <a:lnTo>
                    <a:pt x="2598374" y="426922"/>
                  </a:lnTo>
                  <a:cubicBezTo>
                    <a:pt x="2602424" y="418825"/>
                    <a:pt x="2605573" y="409378"/>
                    <a:pt x="2606922" y="403529"/>
                  </a:cubicBezTo>
                  <a:cubicBezTo>
                    <a:pt x="2609172" y="393182"/>
                    <a:pt x="2608722" y="400380"/>
                    <a:pt x="2629415" y="309508"/>
                  </a:cubicBezTo>
                  <a:cubicBezTo>
                    <a:pt x="2650110" y="218635"/>
                    <a:pt x="2645161" y="205139"/>
                    <a:pt x="2643362" y="188494"/>
                  </a:cubicBezTo>
                  <a:cubicBezTo>
                    <a:pt x="2641562" y="171849"/>
                    <a:pt x="2638413" y="166451"/>
                    <a:pt x="2636614" y="154754"/>
                  </a:cubicBezTo>
                  <a:cubicBezTo>
                    <a:pt x="2634814" y="143058"/>
                    <a:pt x="2634814" y="120563"/>
                    <a:pt x="2631665" y="112466"/>
                  </a:cubicBezTo>
                  <a:cubicBezTo>
                    <a:pt x="2628516" y="104818"/>
                    <a:pt x="2617269" y="84574"/>
                    <a:pt x="2616820" y="86824"/>
                  </a:cubicBezTo>
                  <a:cubicBezTo>
                    <a:pt x="2615920" y="89523"/>
                    <a:pt x="2619519" y="104818"/>
                    <a:pt x="2619069" y="125063"/>
                  </a:cubicBezTo>
                  <a:cubicBezTo>
                    <a:pt x="2618169" y="145307"/>
                    <a:pt x="2599275" y="157003"/>
                    <a:pt x="2599275" y="157003"/>
                  </a:cubicBezTo>
                  <a:cubicBezTo>
                    <a:pt x="2599275" y="157003"/>
                    <a:pt x="2591626" y="174998"/>
                    <a:pt x="2589377" y="195692"/>
                  </a:cubicBezTo>
                  <a:cubicBezTo>
                    <a:pt x="2587128" y="216386"/>
                    <a:pt x="2589377" y="263621"/>
                    <a:pt x="2589377" y="283415"/>
                  </a:cubicBezTo>
                  <a:cubicBezTo>
                    <a:pt x="2589377" y="303209"/>
                    <a:pt x="2596125" y="328852"/>
                    <a:pt x="2596575" y="340548"/>
                  </a:cubicBezTo>
                  <a:cubicBezTo>
                    <a:pt x="2597474" y="352245"/>
                    <a:pt x="2595225" y="370689"/>
                    <a:pt x="2592976" y="379686"/>
                  </a:cubicBezTo>
                  <a:cubicBezTo>
                    <a:pt x="2590276" y="389134"/>
                    <a:pt x="2586228" y="409378"/>
                    <a:pt x="2584878" y="419724"/>
                  </a:cubicBezTo>
                  <a:cubicBezTo>
                    <a:pt x="2584428" y="422423"/>
                    <a:pt x="2584428" y="425123"/>
                    <a:pt x="2586228" y="427822"/>
                  </a:cubicBezTo>
                  <a:lnTo>
                    <a:pt x="2510200" y="427822"/>
                  </a:lnTo>
                  <a:cubicBezTo>
                    <a:pt x="2513350" y="421524"/>
                    <a:pt x="2516049" y="415675"/>
                    <a:pt x="2516049" y="409378"/>
                  </a:cubicBezTo>
                  <a:cubicBezTo>
                    <a:pt x="2516049" y="401730"/>
                    <a:pt x="2514699" y="339649"/>
                    <a:pt x="2520997" y="314456"/>
                  </a:cubicBezTo>
                  <a:cubicBezTo>
                    <a:pt x="2526846" y="289264"/>
                    <a:pt x="2543041" y="206488"/>
                    <a:pt x="2541691" y="157903"/>
                  </a:cubicBezTo>
                  <a:cubicBezTo>
                    <a:pt x="2540342" y="109317"/>
                    <a:pt x="2529095" y="77377"/>
                    <a:pt x="2521897" y="67029"/>
                  </a:cubicBezTo>
                  <a:cubicBezTo>
                    <a:pt x="2521897" y="67029"/>
                    <a:pt x="2516049" y="59382"/>
                    <a:pt x="2492656" y="58032"/>
                  </a:cubicBezTo>
                  <a:cubicBezTo>
                    <a:pt x="2492656" y="58032"/>
                    <a:pt x="2478260" y="59382"/>
                    <a:pt x="2477810" y="47685"/>
                  </a:cubicBezTo>
                  <a:cubicBezTo>
                    <a:pt x="2477361" y="35989"/>
                    <a:pt x="2480509" y="22493"/>
                    <a:pt x="2507951" y="22493"/>
                  </a:cubicBezTo>
                  <a:cubicBezTo>
                    <a:pt x="2535393" y="22493"/>
                    <a:pt x="2554287" y="20693"/>
                    <a:pt x="2558786" y="28791"/>
                  </a:cubicBezTo>
                  <a:cubicBezTo>
                    <a:pt x="2563285" y="36889"/>
                    <a:pt x="2571832" y="72428"/>
                    <a:pt x="2585778" y="85924"/>
                  </a:cubicBezTo>
                  <a:cubicBezTo>
                    <a:pt x="2599724" y="99420"/>
                    <a:pt x="2599724" y="98070"/>
                    <a:pt x="2602874" y="86374"/>
                  </a:cubicBezTo>
                  <a:cubicBezTo>
                    <a:pt x="2605573" y="74677"/>
                    <a:pt x="2605123" y="69729"/>
                    <a:pt x="2605123" y="69729"/>
                  </a:cubicBezTo>
                  <a:cubicBezTo>
                    <a:pt x="2605123" y="69729"/>
                    <a:pt x="2609622" y="68379"/>
                    <a:pt x="2605123" y="66130"/>
                  </a:cubicBezTo>
                  <a:cubicBezTo>
                    <a:pt x="2600625" y="63431"/>
                    <a:pt x="2586228" y="60281"/>
                    <a:pt x="2581729" y="54883"/>
                  </a:cubicBezTo>
                  <a:cubicBezTo>
                    <a:pt x="2577680" y="49035"/>
                    <a:pt x="2576781" y="41387"/>
                    <a:pt x="2579929" y="36889"/>
                  </a:cubicBezTo>
                  <a:cubicBezTo>
                    <a:pt x="2583079" y="32840"/>
                    <a:pt x="2576331" y="24742"/>
                    <a:pt x="2589827" y="22943"/>
                  </a:cubicBezTo>
                  <a:cubicBezTo>
                    <a:pt x="2596575" y="22043"/>
                    <a:pt x="2612771" y="19907"/>
                    <a:pt x="2629135" y="19119"/>
                  </a:cubicBezTo>
                  <a:close/>
                  <a:moveTo>
                    <a:pt x="1119668" y="13496"/>
                  </a:moveTo>
                  <a:lnTo>
                    <a:pt x="1143961" y="17995"/>
                  </a:lnTo>
                  <a:cubicBezTo>
                    <a:pt x="1147110" y="15295"/>
                    <a:pt x="1151609" y="15295"/>
                    <a:pt x="1158807" y="14846"/>
                  </a:cubicBezTo>
                  <a:cubicBezTo>
                    <a:pt x="1166005" y="14396"/>
                    <a:pt x="1262726" y="14846"/>
                    <a:pt x="1271723" y="14846"/>
                  </a:cubicBezTo>
                  <a:cubicBezTo>
                    <a:pt x="1280720" y="14846"/>
                    <a:pt x="1291067" y="17545"/>
                    <a:pt x="1294666" y="19794"/>
                  </a:cubicBezTo>
                  <a:cubicBezTo>
                    <a:pt x="1298265" y="22043"/>
                    <a:pt x="1298265" y="22943"/>
                    <a:pt x="1298265" y="22943"/>
                  </a:cubicBezTo>
                  <a:cubicBezTo>
                    <a:pt x="1298265" y="22943"/>
                    <a:pt x="1297365" y="30141"/>
                    <a:pt x="1296015" y="32840"/>
                  </a:cubicBezTo>
                  <a:cubicBezTo>
                    <a:pt x="1294666" y="35989"/>
                    <a:pt x="1293766" y="37339"/>
                    <a:pt x="1289717" y="39139"/>
                  </a:cubicBezTo>
                  <a:cubicBezTo>
                    <a:pt x="1289267" y="41388"/>
                    <a:pt x="1287468" y="44087"/>
                    <a:pt x="1284319" y="46336"/>
                  </a:cubicBezTo>
                  <a:cubicBezTo>
                    <a:pt x="1276671" y="51285"/>
                    <a:pt x="1258227" y="52634"/>
                    <a:pt x="1251479" y="54884"/>
                  </a:cubicBezTo>
                  <a:cubicBezTo>
                    <a:pt x="1245181" y="57133"/>
                    <a:pt x="1239782" y="61632"/>
                    <a:pt x="1234384" y="66580"/>
                  </a:cubicBezTo>
                  <a:cubicBezTo>
                    <a:pt x="1228986" y="71529"/>
                    <a:pt x="1224937" y="72878"/>
                    <a:pt x="1219538" y="80076"/>
                  </a:cubicBezTo>
                  <a:cubicBezTo>
                    <a:pt x="1214590" y="86824"/>
                    <a:pt x="1208742" y="95821"/>
                    <a:pt x="1207392" y="100320"/>
                  </a:cubicBezTo>
                  <a:cubicBezTo>
                    <a:pt x="1206042" y="105268"/>
                    <a:pt x="1208292" y="119214"/>
                    <a:pt x="1210541" y="124613"/>
                  </a:cubicBezTo>
                  <a:cubicBezTo>
                    <a:pt x="1212790" y="130461"/>
                    <a:pt x="1213690" y="135409"/>
                    <a:pt x="1210991" y="139008"/>
                  </a:cubicBezTo>
                  <a:cubicBezTo>
                    <a:pt x="1208742" y="142607"/>
                    <a:pt x="1202893" y="143507"/>
                    <a:pt x="1200644" y="147106"/>
                  </a:cubicBezTo>
                  <a:cubicBezTo>
                    <a:pt x="1198395" y="150705"/>
                    <a:pt x="1203793" y="161951"/>
                    <a:pt x="1206042" y="166900"/>
                  </a:cubicBezTo>
                  <a:cubicBezTo>
                    <a:pt x="1208292" y="171849"/>
                    <a:pt x="1203343" y="177247"/>
                    <a:pt x="1201094" y="183095"/>
                  </a:cubicBezTo>
                  <a:cubicBezTo>
                    <a:pt x="1198845" y="188943"/>
                    <a:pt x="1192997" y="225832"/>
                    <a:pt x="1189397" y="243377"/>
                  </a:cubicBezTo>
                  <a:cubicBezTo>
                    <a:pt x="1185799" y="261371"/>
                    <a:pt x="1180850" y="284764"/>
                    <a:pt x="1179501" y="289263"/>
                  </a:cubicBezTo>
                  <a:cubicBezTo>
                    <a:pt x="1178151" y="293312"/>
                    <a:pt x="1183999" y="299160"/>
                    <a:pt x="1186698" y="311307"/>
                  </a:cubicBezTo>
                  <a:cubicBezTo>
                    <a:pt x="1189397" y="323003"/>
                    <a:pt x="1192997" y="349545"/>
                    <a:pt x="1196145" y="379686"/>
                  </a:cubicBezTo>
                  <a:cubicBezTo>
                    <a:pt x="1197495" y="391832"/>
                    <a:pt x="1198845" y="409377"/>
                    <a:pt x="1199745" y="427372"/>
                  </a:cubicBezTo>
                  <a:lnTo>
                    <a:pt x="1029246" y="427372"/>
                  </a:lnTo>
                  <a:cubicBezTo>
                    <a:pt x="1026097" y="424222"/>
                    <a:pt x="1022498" y="421973"/>
                    <a:pt x="1021148" y="419724"/>
                  </a:cubicBezTo>
                  <a:cubicBezTo>
                    <a:pt x="1017999" y="415225"/>
                    <a:pt x="1016650" y="398130"/>
                    <a:pt x="1016200" y="393182"/>
                  </a:cubicBezTo>
                  <a:cubicBezTo>
                    <a:pt x="1015750" y="388233"/>
                    <a:pt x="1009002" y="385534"/>
                    <a:pt x="1007652" y="376087"/>
                  </a:cubicBezTo>
                  <a:cubicBezTo>
                    <a:pt x="1006753" y="366640"/>
                    <a:pt x="1004053" y="348645"/>
                    <a:pt x="1000454" y="337848"/>
                  </a:cubicBezTo>
                  <a:cubicBezTo>
                    <a:pt x="996855" y="327052"/>
                    <a:pt x="997305" y="304559"/>
                    <a:pt x="994156" y="295111"/>
                  </a:cubicBezTo>
                  <a:cubicBezTo>
                    <a:pt x="991007" y="285214"/>
                    <a:pt x="991907" y="273518"/>
                    <a:pt x="989658" y="264071"/>
                  </a:cubicBezTo>
                  <a:cubicBezTo>
                    <a:pt x="987408" y="254623"/>
                    <a:pt x="974812" y="179496"/>
                    <a:pt x="971213" y="163301"/>
                  </a:cubicBezTo>
                  <a:cubicBezTo>
                    <a:pt x="967614" y="147106"/>
                    <a:pt x="963566" y="104369"/>
                    <a:pt x="963116" y="96721"/>
                  </a:cubicBezTo>
                  <a:cubicBezTo>
                    <a:pt x="962666" y="89073"/>
                    <a:pt x="960866" y="80076"/>
                    <a:pt x="962666" y="73778"/>
                  </a:cubicBezTo>
                  <a:cubicBezTo>
                    <a:pt x="964465" y="67030"/>
                    <a:pt x="961766" y="58932"/>
                    <a:pt x="962216" y="54434"/>
                  </a:cubicBezTo>
                  <a:cubicBezTo>
                    <a:pt x="962666" y="49935"/>
                    <a:pt x="964915" y="49035"/>
                    <a:pt x="962216" y="47686"/>
                  </a:cubicBezTo>
                  <a:cubicBezTo>
                    <a:pt x="959067" y="46336"/>
                    <a:pt x="957717" y="25643"/>
                    <a:pt x="957717" y="25643"/>
                  </a:cubicBezTo>
                  <a:cubicBezTo>
                    <a:pt x="1001354" y="13496"/>
                    <a:pt x="1039593" y="17995"/>
                    <a:pt x="1040492" y="18895"/>
                  </a:cubicBezTo>
                  <a:cubicBezTo>
                    <a:pt x="1041392" y="19794"/>
                    <a:pt x="1044091" y="30141"/>
                    <a:pt x="1044091" y="30141"/>
                  </a:cubicBezTo>
                  <a:cubicBezTo>
                    <a:pt x="1062086" y="23843"/>
                    <a:pt x="1089977" y="21594"/>
                    <a:pt x="1089977" y="21594"/>
                  </a:cubicBezTo>
                  <a:cubicBezTo>
                    <a:pt x="1089528" y="18895"/>
                    <a:pt x="1089977" y="18445"/>
                    <a:pt x="1089977" y="18445"/>
                  </a:cubicBezTo>
                  <a:cubicBezTo>
                    <a:pt x="1095826" y="14846"/>
                    <a:pt x="1119668" y="13496"/>
                    <a:pt x="1119668" y="13496"/>
                  </a:cubicBezTo>
                  <a:close/>
                  <a:moveTo>
                    <a:pt x="1458417" y="9897"/>
                  </a:moveTo>
                  <a:cubicBezTo>
                    <a:pt x="1466064" y="9897"/>
                    <a:pt x="1474612" y="13496"/>
                    <a:pt x="1474612" y="13496"/>
                  </a:cubicBezTo>
                  <a:cubicBezTo>
                    <a:pt x="1474612" y="13496"/>
                    <a:pt x="1477761" y="12147"/>
                    <a:pt x="1480010" y="11247"/>
                  </a:cubicBezTo>
                  <a:cubicBezTo>
                    <a:pt x="1482260" y="10347"/>
                    <a:pt x="1498006" y="12147"/>
                    <a:pt x="1499356" y="13496"/>
                  </a:cubicBezTo>
                  <a:cubicBezTo>
                    <a:pt x="1500705" y="14846"/>
                    <a:pt x="1499356" y="26992"/>
                    <a:pt x="1499356" y="33290"/>
                  </a:cubicBezTo>
                  <a:cubicBezTo>
                    <a:pt x="1501155" y="34190"/>
                    <a:pt x="1502505" y="39138"/>
                    <a:pt x="1501605" y="43637"/>
                  </a:cubicBezTo>
                  <a:cubicBezTo>
                    <a:pt x="1500705" y="46786"/>
                    <a:pt x="1499356" y="50385"/>
                    <a:pt x="1499805" y="53534"/>
                  </a:cubicBezTo>
                  <a:cubicBezTo>
                    <a:pt x="1505204" y="51285"/>
                    <a:pt x="1505654" y="51735"/>
                    <a:pt x="1505654" y="51735"/>
                  </a:cubicBezTo>
                  <a:cubicBezTo>
                    <a:pt x="1516900" y="54884"/>
                    <a:pt x="1510602" y="59832"/>
                    <a:pt x="1509253" y="64780"/>
                  </a:cubicBezTo>
                  <a:cubicBezTo>
                    <a:pt x="1508803" y="66580"/>
                    <a:pt x="1507453" y="68380"/>
                    <a:pt x="1506553" y="69279"/>
                  </a:cubicBezTo>
                  <a:cubicBezTo>
                    <a:pt x="1506553" y="70179"/>
                    <a:pt x="1506103" y="71079"/>
                    <a:pt x="1506103" y="71978"/>
                  </a:cubicBezTo>
                  <a:cubicBezTo>
                    <a:pt x="1510152" y="72428"/>
                    <a:pt x="1518700" y="65680"/>
                    <a:pt x="1523198" y="84575"/>
                  </a:cubicBezTo>
                  <a:cubicBezTo>
                    <a:pt x="1527247" y="103469"/>
                    <a:pt x="1521399" y="131811"/>
                    <a:pt x="1519150" y="148906"/>
                  </a:cubicBezTo>
                  <a:cubicBezTo>
                    <a:pt x="1516900" y="166001"/>
                    <a:pt x="1512402" y="206939"/>
                    <a:pt x="1512402" y="245177"/>
                  </a:cubicBezTo>
                  <a:cubicBezTo>
                    <a:pt x="1515551" y="302760"/>
                    <a:pt x="1519599" y="367091"/>
                    <a:pt x="1522298" y="404879"/>
                  </a:cubicBezTo>
                  <a:cubicBezTo>
                    <a:pt x="1523648" y="411177"/>
                    <a:pt x="1524998" y="417925"/>
                    <a:pt x="1526797" y="425123"/>
                  </a:cubicBezTo>
                  <a:cubicBezTo>
                    <a:pt x="1526797" y="425573"/>
                    <a:pt x="1526797" y="426473"/>
                    <a:pt x="1526797" y="427822"/>
                  </a:cubicBezTo>
                  <a:lnTo>
                    <a:pt x="1402184" y="427822"/>
                  </a:lnTo>
                  <a:cubicBezTo>
                    <a:pt x="1402184" y="425573"/>
                    <a:pt x="1402184" y="423774"/>
                    <a:pt x="1402184" y="422874"/>
                  </a:cubicBezTo>
                  <a:cubicBezTo>
                    <a:pt x="1401284" y="416126"/>
                    <a:pt x="1402184" y="364841"/>
                    <a:pt x="1402184" y="351795"/>
                  </a:cubicBezTo>
                  <a:cubicBezTo>
                    <a:pt x="1402184" y="339649"/>
                    <a:pt x="1397685" y="219985"/>
                    <a:pt x="1397235" y="194792"/>
                  </a:cubicBezTo>
                  <a:cubicBezTo>
                    <a:pt x="1396785" y="173649"/>
                    <a:pt x="1392287" y="146207"/>
                    <a:pt x="1392737" y="138110"/>
                  </a:cubicBezTo>
                  <a:cubicBezTo>
                    <a:pt x="1393187" y="129562"/>
                    <a:pt x="1400384" y="125063"/>
                    <a:pt x="1401284" y="118765"/>
                  </a:cubicBezTo>
                  <a:cubicBezTo>
                    <a:pt x="1402184" y="112466"/>
                    <a:pt x="1403983" y="96271"/>
                    <a:pt x="1402634" y="86824"/>
                  </a:cubicBezTo>
                  <a:cubicBezTo>
                    <a:pt x="1401284" y="77377"/>
                    <a:pt x="1406683" y="64780"/>
                    <a:pt x="1406232" y="62081"/>
                  </a:cubicBezTo>
                  <a:cubicBezTo>
                    <a:pt x="1405783" y="59382"/>
                    <a:pt x="1396335" y="48585"/>
                    <a:pt x="1387788" y="41838"/>
                  </a:cubicBezTo>
                  <a:cubicBezTo>
                    <a:pt x="1379691" y="35090"/>
                    <a:pt x="1382390" y="22043"/>
                    <a:pt x="1382390" y="22043"/>
                  </a:cubicBezTo>
                  <a:cubicBezTo>
                    <a:pt x="1380140" y="21594"/>
                    <a:pt x="1377891" y="15295"/>
                    <a:pt x="1384189" y="13496"/>
                  </a:cubicBezTo>
                  <a:cubicBezTo>
                    <a:pt x="1390937" y="11697"/>
                    <a:pt x="1450769" y="9447"/>
                    <a:pt x="1458417" y="9897"/>
                  </a:cubicBezTo>
                  <a:close/>
                  <a:moveTo>
                    <a:pt x="2242532" y="8098"/>
                  </a:moveTo>
                  <a:cubicBezTo>
                    <a:pt x="2256028" y="8998"/>
                    <a:pt x="2269974" y="6748"/>
                    <a:pt x="2272223" y="10797"/>
                  </a:cubicBezTo>
                  <a:cubicBezTo>
                    <a:pt x="2274473" y="14396"/>
                    <a:pt x="2277622" y="11697"/>
                    <a:pt x="2277622" y="11697"/>
                  </a:cubicBezTo>
                  <a:cubicBezTo>
                    <a:pt x="2283020" y="13946"/>
                    <a:pt x="2287969" y="16645"/>
                    <a:pt x="2287969" y="16645"/>
                  </a:cubicBezTo>
                  <a:cubicBezTo>
                    <a:pt x="2287518" y="30141"/>
                    <a:pt x="2286169" y="35540"/>
                    <a:pt x="2285719" y="41388"/>
                  </a:cubicBezTo>
                  <a:cubicBezTo>
                    <a:pt x="2285719" y="42738"/>
                    <a:pt x="2286169" y="43637"/>
                    <a:pt x="2286169" y="44537"/>
                  </a:cubicBezTo>
                  <a:cubicBezTo>
                    <a:pt x="2289768" y="48586"/>
                    <a:pt x="2293367" y="54434"/>
                    <a:pt x="2296966" y="63431"/>
                  </a:cubicBezTo>
                  <a:cubicBezTo>
                    <a:pt x="2301914" y="76027"/>
                    <a:pt x="2290218" y="84125"/>
                    <a:pt x="2286169" y="93122"/>
                  </a:cubicBezTo>
                  <a:cubicBezTo>
                    <a:pt x="2282570" y="102120"/>
                    <a:pt x="2282570" y="104369"/>
                    <a:pt x="2281670" y="117416"/>
                  </a:cubicBezTo>
                  <a:cubicBezTo>
                    <a:pt x="2281221" y="130012"/>
                    <a:pt x="2277622" y="137660"/>
                    <a:pt x="2277172" y="149806"/>
                  </a:cubicBezTo>
                  <a:cubicBezTo>
                    <a:pt x="2276722" y="161503"/>
                    <a:pt x="2272673" y="166901"/>
                    <a:pt x="2272223" y="181297"/>
                  </a:cubicBezTo>
                  <a:cubicBezTo>
                    <a:pt x="2271773" y="196142"/>
                    <a:pt x="2270424" y="203340"/>
                    <a:pt x="2272673" y="227633"/>
                  </a:cubicBezTo>
                  <a:cubicBezTo>
                    <a:pt x="2274473" y="251926"/>
                    <a:pt x="2272673" y="256424"/>
                    <a:pt x="2269974" y="278917"/>
                  </a:cubicBezTo>
                  <a:cubicBezTo>
                    <a:pt x="2268624" y="291064"/>
                    <a:pt x="2264126" y="310858"/>
                    <a:pt x="2258728" y="331102"/>
                  </a:cubicBezTo>
                  <a:cubicBezTo>
                    <a:pt x="2253779" y="351796"/>
                    <a:pt x="2247931" y="371140"/>
                    <a:pt x="2244332" y="384636"/>
                  </a:cubicBezTo>
                  <a:cubicBezTo>
                    <a:pt x="2240283" y="398581"/>
                    <a:pt x="2233535" y="413877"/>
                    <a:pt x="2226337" y="427822"/>
                  </a:cubicBezTo>
                  <a:lnTo>
                    <a:pt x="2073382" y="427822"/>
                  </a:lnTo>
                  <a:cubicBezTo>
                    <a:pt x="2076081" y="417026"/>
                    <a:pt x="2078781" y="406679"/>
                    <a:pt x="2080580" y="398581"/>
                  </a:cubicBezTo>
                  <a:cubicBezTo>
                    <a:pt x="2087328" y="370240"/>
                    <a:pt x="2099025" y="335600"/>
                    <a:pt x="2105773" y="318056"/>
                  </a:cubicBezTo>
                  <a:cubicBezTo>
                    <a:pt x="2112521" y="300961"/>
                    <a:pt x="2134563" y="242478"/>
                    <a:pt x="2139062" y="217286"/>
                  </a:cubicBezTo>
                  <a:cubicBezTo>
                    <a:pt x="2143561" y="192094"/>
                    <a:pt x="2147610" y="158804"/>
                    <a:pt x="2149409" y="149356"/>
                  </a:cubicBezTo>
                  <a:cubicBezTo>
                    <a:pt x="2151659" y="139459"/>
                    <a:pt x="2160656" y="98521"/>
                    <a:pt x="2164705" y="82775"/>
                  </a:cubicBezTo>
                  <a:cubicBezTo>
                    <a:pt x="2168754" y="67030"/>
                    <a:pt x="2179100" y="60732"/>
                    <a:pt x="2180000" y="57583"/>
                  </a:cubicBezTo>
                  <a:cubicBezTo>
                    <a:pt x="2180900" y="54434"/>
                    <a:pt x="2175051" y="49035"/>
                    <a:pt x="2167404" y="42738"/>
                  </a:cubicBezTo>
                  <a:cubicBezTo>
                    <a:pt x="2159756" y="36439"/>
                    <a:pt x="2161555" y="33290"/>
                    <a:pt x="2160206" y="26542"/>
                  </a:cubicBezTo>
                  <a:cubicBezTo>
                    <a:pt x="2159306" y="23843"/>
                    <a:pt x="2150759" y="22494"/>
                    <a:pt x="2157507" y="15296"/>
                  </a:cubicBezTo>
                  <a:cubicBezTo>
                    <a:pt x="2164255" y="8098"/>
                    <a:pt x="2229486" y="7198"/>
                    <a:pt x="2242532" y="8098"/>
                  </a:cubicBezTo>
                  <a:close/>
                  <a:moveTo>
                    <a:pt x="1679309" y="7704"/>
                  </a:moveTo>
                  <a:cubicBezTo>
                    <a:pt x="1716866" y="7957"/>
                    <a:pt x="1730699" y="14283"/>
                    <a:pt x="1732386" y="15295"/>
                  </a:cubicBezTo>
                  <a:cubicBezTo>
                    <a:pt x="1735085" y="16645"/>
                    <a:pt x="1735085" y="20693"/>
                    <a:pt x="1731936" y="22043"/>
                  </a:cubicBezTo>
                  <a:cubicBezTo>
                    <a:pt x="1731486" y="26092"/>
                    <a:pt x="1731486" y="34189"/>
                    <a:pt x="1728787" y="36439"/>
                  </a:cubicBezTo>
                  <a:cubicBezTo>
                    <a:pt x="1725638" y="38238"/>
                    <a:pt x="1713042" y="41387"/>
                    <a:pt x="1707643" y="43637"/>
                  </a:cubicBezTo>
                  <a:cubicBezTo>
                    <a:pt x="1702695" y="45886"/>
                    <a:pt x="1685150" y="57582"/>
                    <a:pt x="1682451" y="62081"/>
                  </a:cubicBezTo>
                  <a:cubicBezTo>
                    <a:pt x="1682001" y="68829"/>
                    <a:pt x="1685600" y="74677"/>
                    <a:pt x="1689199" y="86374"/>
                  </a:cubicBezTo>
                  <a:cubicBezTo>
                    <a:pt x="1692798" y="98070"/>
                    <a:pt x="1687849" y="104818"/>
                    <a:pt x="1684700" y="112017"/>
                  </a:cubicBezTo>
                  <a:cubicBezTo>
                    <a:pt x="1682001" y="119215"/>
                    <a:pt x="1677952" y="139459"/>
                    <a:pt x="1678852" y="154304"/>
                  </a:cubicBezTo>
                  <a:cubicBezTo>
                    <a:pt x="1679751" y="169150"/>
                    <a:pt x="1680651" y="188494"/>
                    <a:pt x="1680651" y="217735"/>
                  </a:cubicBezTo>
                  <a:cubicBezTo>
                    <a:pt x="1680651" y="224033"/>
                    <a:pt x="1680651" y="230781"/>
                    <a:pt x="1680651" y="237529"/>
                  </a:cubicBezTo>
                  <a:cubicBezTo>
                    <a:pt x="1681101" y="252825"/>
                    <a:pt x="1681101" y="266770"/>
                    <a:pt x="1681101" y="274868"/>
                  </a:cubicBezTo>
                  <a:cubicBezTo>
                    <a:pt x="1681101" y="280716"/>
                    <a:pt x="1682001" y="293313"/>
                    <a:pt x="1683351" y="309058"/>
                  </a:cubicBezTo>
                  <a:cubicBezTo>
                    <a:pt x="1686050" y="331551"/>
                    <a:pt x="1692348" y="382386"/>
                    <a:pt x="1697296" y="426472"/>
                  </a:cubicBezTo>
                  <a:lnTo>
                    <a:pt x="1575832" y="426472"/>
                  </a:lnTo>
                  <a:cubicBezTo>
                    <a:pt x="1575832" y="423323"/>
                    <a:pt x="1576282" y="421074"/>
                    <a:pt x="1576282" y="420624"/>
                  </a:cubicBezTo>
                  <a:cubicBezTo>
                    <a:pt x="1577631" y="415226"/>
                    <a:pt x="1576732" y="396331"/>
                    <a:pt x="1576282" y="386884"/>
                  </a:cubicBezTo>
                  <a:cubicBezTo>
                    <a:pt x="1576282" y="377437"/>
                    <a:pt x="1583030" y="351795"/>
                    <a:pt x="1584379" y="346846"/>
                  </a:cubicBezTo>
                  <a:cubicBezTo>
                    <a:pt x="1585729" y="341898"/>
                    <a:pt x="1580330" y="293762"/>
                    <a:pt x="1579431" y="266770"/>
                  </a:cubicBezTo>
                  <a:cubicBezTo>
                    <a:pt x="1578531" y="240228"/>
                    <a:pt x="1577181" y="151155"/>
                    <a:pt x="1574032" y="133611"/>
                  </a:cubicBezTo>
                  <a:cubicBezTo>
                    <a:pt x="1569534" y="105718"/>
                    <a:pt x="1578531" y="84125"/>
                    <a:pt x="1576732" y="61631"/>
                  </a:cubicBezTo>
                  <a:cubicBezTo>
                    <a:pt x="1576282" y="58482"/>
                    <a:pt x="1572233" y="42287"/>
                    <a:pt x="1572233" y="30591"/>
                  </a:cubicBezTo>
                  <a:cubicBezTo>
                    <a:pt x="1572233" y="26542"/>
                    <a:pt x="1575832" y="25642"/>
                    <a:pt x="1575832" y="23843"/>
                  </a:cubicBezTo>
                  <a:cubicBezTo>
                    <a:pt x="1575832" y="17095"/>
                    <a:pt x="1574932" y="11696"/>
                    <a:pt x="1576282" y="11696"/>
                  </a:cubicBezTo>
                  <a:cubicBezTo>
                    <a:pt x="1577631" y="11696"/>
                    <a:pt x="1604623" y="11696"/>
                    <a:pt x="1606873" y="11696"/>
                  </a:cubicBezTo>
                  <a:cubicBezTo>
                    <a:pt x="1608672" y="12146"/>
                    <a:pt x="1621269" y="14845"/>
                    <a:pt x="1621269" y="14845"/>
                  </a:cubicBezTo>
                  <a:cubicBezTo>
                    <a:pt x="1621269" y="14845"/>
                    <a:pt x="1624418" y="13046"/>
                    <a:pt x="1633415" y="9897"/>
                  </a:cubicBezTo>
                  <a:cubicBezTo>
                    <a:pt x="1651635" y="8210"/>
                    <a:pt x="1666790" y="7619"/>
                    <a:pt x="1679309" y="7704"/>
                  </a:cubicBezTo>
                  <a:close/>
                  <a:moveTo>
                    <a:pt x="22899" y="7648"/>
                  </a:moveTo>
                  <a:cubicBezTo>
                    <a:pt x="22899" y="7648"/>
                    <a:pt x="24699" y="16646"/>
                    <a:pt x="29647" y="15746"/>
                  </a:cubicBezTo>
                  <a:cubicBezTo>
                    <a:pt x="35046" y="15296"/>
                    <a:pt x="44943" y="10797"/>
                    <a:pt x="53040" y="8548"/>
                  </a:cubicBezTo>
                  <a:cubicBezTo>
                    <a:pt x="61138" y="6299"/>
                    <a:pt x="109723" y="8548"/>
                    <a:pt x="109723" y="8548"/>
                  </a:cubicBezTo>
                  <a:cubicBezTo>
                    <a:pt x="109723" y="8548"/>
                    <a:pt x="125468" y="18445"/>
                    <a:pt x="126368" y="22944"/>
                  </a:cubicBezTo>
                  <a:cubicBezTo>
                    <a:pt x="127268" y="27442"/>
                    <a:pt x="116921" y="34190"/>
                    <a:pt x="111073" y="39139"/>
                  </a:cubicBezTo>
                  <a:cubicBezTo>
                    <a:pt x="108824" y="40938"/>
                    <a:pt x="105674" y="43188"/>
                    <a:pt x="102076" y="45887"/>
                  </a:cubicBezTo>
                  <a:cubicBezTo>
                    <a:pt x="96677" y="49935"/>
                    <a:pt x="91279" y="55334"/>
                    <a:pt x="88580" y="63881"/>
                  </a:cubicBezTo>
                  <a:cubicBezTo>
                    <a:pt x="84081" y="77827"/>
                    <a:pt x="74634" y="116066"/>
                    <a:pt x="75534" y="157003"/>
                  </a:cubicBezTo>
                  <a:cubicBezTo>
                    <a:pt x="76433" y="197941"/>
                    <a:pt x="103425" y="271269"/>
                    <a:pt x="108374" y="294662"/>
                  </a:cubicBezTo>
                  <a:cubicBezTo>
                    <a:pt x="113322" y="318055"/>
                    <a:pt x="117821" y="351345"/>
                    <a:pt x="121420" y="358093"/>
                  </a:cubicBezTo>
                  <a:cubicBezTo>
                    <a:pt x="125019" y="364841"/>
                    <a:pt x="134016" y="386884"/>
                    <a:pt x="136715" y="389583"/>
                  </a:cubicBezTo>
                  <a:cubicBezTo>
                    <a:pt x="139414" y="392283"/>
                    <a:pt x="141664" y="385085"/>
                    <a:pt x="139414" y="376987"/>
                  </a:cubicBezTo>
                  <a:cubicBezTo>
                    <a:pt x="137165" y="368890"/>
                    <a:pt x="127718" y="309957"/>
                    <a:pt x="128617" y="281616"/>
                  </a:cubicBezTo>
                  <a:cubicBezTo>
                    <a:pt x="129517" y="253274"/>
                    <a:pt x="128168" y="179496"/>
                    <a:pt x="127268" y="157003"/>
                  </a:cubicBezTo>
                  <a:cubicBezTo>
                    <a:pt x="126818" y="134510"/>
                    <a:pt x="124569" y="117415"/>
                    <a:pt x="118720" y="108868"/>
                  </a:cubicBezTo>
                  <a:cubicBezTo>
                    <a:pt x="117371" y="106619"/>
                    <a:pt x="115122" y="103469"/>
                    <a:pt x="113322" y="99421"/>
                  </a:cubicBezTo>
                  <a:cubicBezTo>
                    <a:pt x="107924" y="89524"/>
                    <a:pt x="102975" y="75578"/>
                    <a:pt x="107924" y="64781"/>
                  </a:cubicBezTo>
                  <a:cubicBezTo>
                    <a:pt x="114222" y="49935"/>
                    <a:pt x="127718" y="34640"/>
                    <a:pt x="130417" y="14396"/>
                  </a:cubicBezTo>
                  <a:lnTo>
                    <a:pt x="142113" y="13047"/>
                  </a:lnTo>
                  <a:cubicBezTo>
                    <a:pt x="142113" y="13047"/>
                    <a:pt x="142113" y="20694"/>
                    <a:pt x="144363" y="19795"/>
                  </a:cubicBezTo>
                  <a:cubicBezTo>
                    <a:pt x="146612" y="19345"/>
                    <a:pt x="146612" y="13497"/>
                    <a:pt x="156959" y="12597"/>
                  </a:cubicBezTo>
                  <a:cubicBezTo>
                    <a:pt x="166857" y="11697"/>
                    <a:pt x="206895" y="13497"/>
                    <a:pt x="209144" y="12597"/>
                  </a:cubicBezTo>
                  <a:cubicBezTo>
                    <a:pt x="211394" y="12147"/>
                    <a:pt x="216342" y="15746"/>
                    <a:pt x="217242" y="20694"/>
                  </a:cubicBezTo>
                  <a:cubicBezTo>
                    <a:pt x="217692" y="25643"/>
                    <a:pt x="199247" y="38239"/>
                    <a:pt x="192499" y="48136"/>
                  </a:cubicBezTo>
                  <a:cubicBezTo>
                    <a:pt x="191599" y="49036"/>
                    <a:pt x="191150" y="49935"/>
                    <a:pt x="190700" y="50835"/>
                  </a:cubicBezTo>
                  <a:cubicBezTo>
                    <a:pt x="185751" y="61182"/>
                    <a:pt x="171806" y="79177"/>
                    <a:pt x="172705" y="104819"/>
                  </a:cubicBezTo>
                  <a:cubicBezTo>
                    <a:pt x="173155" y="130461"/>
                    <a:pt x="174505" y="154304"/>
                    <a:pt x="190700" y="231681"/>
                  </a:cubicBezTo>
                  <a:cubicBezTo>
                    <a:pt x="206445" y="308608"/>
                    <a:pt x="213643" y="324803"/>
                    <a:pt x="210944" y="387334"/>
                  </a:cubicBezTo>
                  <a:cubicBezTo>
                    <a:pt x="210944" y="387334"/>
                    <a:pt x="214093" y="403079"/>
                    <a:pt x="216792" y="415675"/>
                  </a:cubicBezTo>
                  <a:cubicBezTo>
                    <a:pt x="217692" y="419724"/>
                    <a:pt x="217692" y="423773"/>
                    <a:pt x="217692" y="426022"/>
                  </a:cubicBezTo>
                  <a:lnTo>
                    <a:pt x="68336" y="426022"/>
                  </a:lnTo>
                  <a:cubicBezTo>
                    <a:pt x="60688" y="408927"/>
                    <a:pt x="47642" y="384185"/>
                    <a:pt x="38195" y="354044"/>
                  </a:cubicBezTo>
                  <a:cubicBezTo>
                    <a:pt x="23799" y="306808"/>
                    <a:pt x="26948" y="242477"/>
                    <a:pt x="29647" y="209188"/>
                  </a:cubicBezTo>
                  <a:cubicBezTo>
                    <a:pt x="32347" y="175448"/>
                    <a:pt x="35945" y="162402"/>
                    <a:pt x="30997" y="148006"/>
                  </a:cubicBezTo>
                  <a:cubicBezTo>
                    <a:pt x="26048" y="133610"/>
                    <a:pt x="22000" y="111117"/>
                    <a:pt x="19300" y="106619"/>
                  </a:cubicBezTo>
                  <a:cubicBezTo>
                    <a:pt x="18401" y="105719"/>
                    <a:pt x="17051" y="103469"/>
                    <a:pt x="14802" y="100770"/>
                  </a:cubicBezTo>
                  <a:cubicBezTo>
                    <a:pt x="8054" y="91323"/>
                    <a:pt x="-3193" y="74678"/>
                    <a:pt x="856" y="62982"/>
                  </a:cubicBezTo>
                  <a:cubicBezTo>
                    <a:pt x="6254" y="47686"/>
                    <a:pt x="17051" y="31941"/>
                    <a:pt x="14802" y="9898"/>
                  </a:cubicBezTo>
                  <a:close/>
                  <a:moveTo>
                    <a:pt x="1939147" y="7127"/>
                  </a:moveTo>
                  <a:cubicBezTo>
                    <a:pt x="1950457" y="7254"/>
                    <a:pt x="1959567" y="7648"/>
                    <a:pt x="1964066" y="8098"/>
                  </a:cubicBezTo>
                  <a:cubicBezTo>
                    <a:pt x="1982060" y="9897"/>
                    <a:pt x="2017600" y="13046"/>
                    <a:pt x="2017600" y="13046"/>
                  </a:cubicBezTo>
                  <a:lnTo>
                    <a:pt x="2018500" y="7198"/>
                  </a:lnTo>
                  <a:lnTo>
                    <a:pt x="2066635" y="12596"/>
                  </a:lnTo>
                  <a:cubicBezTo>
                    <a:pt x="2066635" y="17095"/>
                    <a:pt x="2066635" y="21144"/>
                    <a:pt x="2066635" y="25192"/>
                  </a:cubicBezTo>
                  <a:cubicBezTo>
                    <a:pt x="2070684" y="43187"/>
                    <a:pt x="2062136" y="73328"/>
                    <a:pt x="2059437" y="82775"/>
                  </a:cubicBezTo>
                  <a:cubicBezTo>
                    <a:pt x="2058087" y="87274"/>
                    <a:pt x="2057188" y="94472"/>
                    <a:pt x="2056738" y="103469"/>
                  </a:cubicBezTo>
                  <a:cubicBezTo>
                    <a:pt x="2056738" y="114265"/>
                    <a:pt x="2056738" y="128211"/>
                    <a:pt x="2055388" y="144856"/>
                  </a:cubicBezTo>
                  <a:cubicBezTo>
                    <a:pt x="2054939" y="145756"/>
                    <a:pt x="2054939" y="146656"/>
                    <a:pt x="2054939" y="148005"/>
                  </a:cubicBezTo>
                  <a:cubicBezTo>
                    <a:pt x="2054939" y="150705"/>
                    <a:pt x="2054939" y="153404"/>
                    <a:pt x="2054939" y="156103"/>
                  </a:cubicBezTo>
                  <a:cubicBezTo>
                    <a:pt x="2054939" y="179496"/>
                    <a:pt x="2051790" y="244276"/>
                    <a:pt x="2049990" y="281615"/>
                  </a:cubicBezTo>
                  <a:cubicBezTo>
                    <a:pt x="2049990" y="282515"/>
                    <a:pt x="2049990" y="282965"/>
                    <a:pt x="2049990" y="283415"/>
                  </a:cubicBezTo>
                  <a:cubicBezTo>
                    <a:pt x="2049990" y="290612"/>
                    <a:pt x="2049540" y="296911"/>
                    <a:pt x="2049090" y="302759"/>
                  </a:cubicBezTo>
                  <a:cubicBezTo>
                    <a:pt x="2048640" y="311306"/>
                    <a:pt x="2047741" y="319404"/>
                    <a:pt x="2046391" y="326152"/>
                  </a:cubicBezTo>
                  <a:cubicBezTo>
                    <a:pt x="2045941" y="329751"/>
                    <a:pt x="2045491" y="333350"/>
                    <a:pt x="2045491" y="336948"/>
                  </a:cubicBezTo>
                  <a:cubicBezTo>
                    <a:pt x="2045491" y="344146"/>
                    <a:pt x="2043242" y="348195"/>
                    <a:pt x="2041443" y="352694"/>
                  </a:cubicBezTo>
                  <a:cubicBezTo>
                    <a:pt x="2041443" y="354943"/>
                    <a:pt x="2040993" y="357192"/>
                    <a:pt x="2040993" y="358992"/>
                  </a:cubicBezTo>
                  <a:cubicBezTo>
                    <a:pt x="2040543" y="366640"/>
                    <a:pt x="2039193" y="374287"/>
                    <a:pt x="2039643" y="382835"/>
                  </a:cubicBezTo>
                  <a:cubicBezTo>
                    <a:pt x="2040543" y="387783"/>
                    <a:pt x="2041892" y="392282"/>
                    <a:pt x="2042792" y="397680"/>
                  </a:cubicBezTo>
                  <a:cubicBezTo>
                    <a:pt x="2045491" y="404878"/>
                    <a:pt x="2046841" y="415675"/>
                    <a:pt x="2047291" y="427821"/>
                  </a:cubicBezTo>
                  <a:lnTo>
                    <a:pt x="1901534" y="427821"/>
                  </a:lnTo>
                  <a:cubicBezTo>
                    <a:pt x="1904233" y="381035"/>
                    <a:pt x="1909181" y="314455"/>
                    <a:pt x="1912330" y="285214"/>
                  </a:cubicBezTo>
                  <a:cubicBezTo>
                    <a:pt x="1916379" y="249675"/>
                    <a:pt x="1934824" y="143057"/>
                    <a:pt x="1939322" y="137658"/>
                  </a:cubicBezTo>
                  <a:cubicBezTo>
                    <a:pt x="1943821" y="132260"/>
                    <a:pt x="1942022" y="123713"/>
                    <a:pt x="1940222" y="114715"/>
                  </a:cubicBezTo>
                  <a:cubicBezTo>
                    <a:pt x="1938423" y="105718"/>
                    <a:pt x="1942022" y="98070"/>
                    <a:pt x="1944721" y="93572"/>
                  </a:cubicBezTo>
                  <a:cubicBezTo>
                    <a:pt x="1947420" y="89523"/>
                    <a:pt x="1938423" y="76927"/>
                    <a:pt x="1935723" y="71978"/>
                  </a:cubicBezTo>
                  <a:cubicBezTo>
                    <a:pt x="1933024" y="67030"/>
                    <a:pt x="1930325" y="62531"/>
                    <a:pt x="1926726" y="58932"/>
                  </a:cubicBezTo>
                  <a:cubicBezTo>
                    <a:pt x="1923127" y="55333"/>
                    <a:pt x="1905133" y="46786"/>
                    <a:pt x="1897485" y="44986"/>
                  </a:cubicBezTo>
                  <a:cubicBezTo>
                    <a:pt x="1890287" y="42737"/>
                    <a:pt x="1870043" y="41837"/>
                    <a:pt x="1860596" y="41388"/>
                  </a:cubicBezTo>
                  <a:cubicBezTo>
                    <a:pt x="1850699" y="40938"/>
                    <a:pt x="1848000" y="24293"/>
                    <a:pt x="1848000" y="24293"/>
                  </a:cubicBezTo>
                  <a:cubicBezTo>
                    <a:pt x="1837203" y="22943"/>
                    <a:pt x="1843051" y="18894"/>
                    <a:pt x="1843051" y="18894"/>
                  </a:cubicBezTo>
                  <a:cubicBezTo>
                    <a:pt x="1851486" y="8772"/>
                    <a:pt x="1905217" y="6748"/>
                    <a:pt x="1939147" y="7127"/>
                  </a:cubicBezTo>
                  <a:close/>
                  <a:moveTo>
                    <a:pt x="383690" y="3599"/>
                  </a:moveTo>
                  <a:cubicBezTo>
                    <a:pt x="390438" y="3599"/>
                    <a:pt x="506953" y="3599"/>
                    <a:pt x="506953" y="3599"/>
                  </a:cubicBezTo>
                  <a:lnTo>
                    <a:pt x="515950" y="4949"/>
                  </a:lnTo>
                  <a:lnTo>
                    <a:pt x="515051" y="27892"/>
                  </a:lnTo>
                  <a:cubicBezTo>
                    <a:pt x="515051" y="27892"/>
                    <a:pt x="511902" y="30141"/>
                    <a:pt x="512801" y="39588"/>
                  </a:cubicBezTo>
                  <a:cubicBezTo>
                    <a:pt x="513701" y="44087"/>
                    <a:pt x="516400" y="49485"/>
                    <a:pt x="519099" y="55783"/>
                  </a:cubicBezTo>
                  <a:cubicBezTo>
                    <a:pt x="521349" y="59832"/>
                    <a:pt x="523148" y="64780"/>
                    <a:pt x="523598" y="70629"/>
                  </a:cubicBezTo>
                  <a:cubicBezTo>
                    <a:pt x="524498" y="73328"/>
                    <a:pt x="524948" y="76477"/>
                    <a:pt x="524948" y="79626"/>
                  </a:cubicBezTo>
                  <a:cubicBezTo>
                    <a:pt x="524948" y="82325"/>
                    <a:pt x="524948" y="85024"/>
                    <a:pt x="524498" y="88623"/>
                  </a:cubicBezTo>
                  <a:cubicBezTo>
                    <a:pt x="524948" y="99420"/>
                    <a:pt x="524498" y="110217"/>
                    <a:pt x="522248" y="117415"/>
                  </a:cubicBezTo>
                  <a:cubicBezTo>
                    <a:pt x="520899" y="122363"/>
                    <a:pt x="518200" y="130011"/>
                    <a:pt x="515950" y="139908"/>
                  </a:cubicBezTo>
                  <a:cubicBezTo>
                    <a:pt x="514151" y="150255"/>
                    <a:pt x="512801" y="160152"/>
                    <a:pt x="512801" y="168249"/>
                  </a:cubicBezTo>
                  <a:cubicBezTo>
                    <a:pt x="512801" y="179046"/>
                    <a:pt x="516400" y="196141"/>
                    <a:pt x="520449" y="218184"/>
                  </a:cubicBezTo>
                  <a:cubicBezTo>
                    <a:pt x="525847" y="246076"/>
                    <a:pt x="531696" y="280715"/>
                    <a:pt x="531246" y="311306"/>
                  </a:cubicBezTo>
                  <a:cubicBezTo>
                    <a:pt x="530346" y="352244"/>
                    <a:pt x="531246" y="385534"/>
                    <a:pt x="533495" y="428271"/>
                  </a:cubicBezTo>
                  <a:lnTo>
                    <a:pt x="412032" y="428271"/>
                  </a:lnTo>
                  <a:cubicBezTo>
                    <a:pt x="412032" y="417924"/>
                    <a:pt x="412482" y="404878"/>
                    <a:pt x="414281" y="402629"/>
                  </a:cubicBezTo>
                  <a:cubicBezTo>
                    <a:pt x="416530" y="399480"/>
                    <a:pt x="417880" y="395431"/>
                    <a:pt x="415630" y="384184"/>
                  </a:cubicBezTo>
                  <a:cubicBezTo>
                    <a:pt x="413381" y="373388"/>
                    <a:pt x="414281" y="358992"/>
                    <a:pt x="413381" y="333350"/>
                  </a:cubicBezTo>
                  <a:cubicBezTo>
                    <a:pt x="412482" y="307258"/>
                    <a:pt x="411132" y="270369"/>
                    <a:pt x="413381" y="231230"/>
                  </a:cubicBezTo>
                  <a:cubicBezTo>
                    <a:pt x="415630" y="192092"/>
                    <a:pt x="420579" y="158802"/>
                    <a:pt x="423728" y="138109"/>
                  </a:cubicBezTo>
                  <a:cubicBezTo>
                    <a:pt x="423728" y="138109"/>
                    <a:pt x="429576" y="126862"/>
                    <a:pt x="430476" y="119664"/>
                  </a:cubicBezTo>
                  <a:cubicBezTo>
                    <a:pt x="431376" y="112466"/>
                    <a:pt x="417880" y="102569"/>
                    <a:pt x="412032" y="88623"/>
                  </a:cubicBezTo>
                  <a:cubicBezTo>
                    <a:pt x="406183" y="74228"/>
                    <a:pt x="408433" y="61182"/>
                    <a:pt x="409782" y="58932"/>
                  </a:cubicBezTo>
                  <a:cubicBezTo>
                    <a:pt x="411132" y="56683"/>
                    <a:pt x="403034" y="42737"/>
                    <a:pt x="394937" y="41837"/>
                  </a:cubicBezTo>
                  <a:cubicBezTo>
                    <a:pt x="386839" y="41388"/>
                    <a:pt x="367495" y="41388"/>
                    <a:pt x="361647" y="34640"/>
                  </a:cubicBezTo>
                  <a:cubicBezTo>
                    <a:pt x="355799" y="27892"/>
                    <a:pt x="355799" y="23393"/>
                    <a:pt x="355799" y="23393"/>
                  </a:cubicBezTo>
                  <a:cubicBezTo>
                    <a:pt x="355799" y="23393"/>
                    <a:pt x="345452" y="20694"/>
                    <a:pt x="351300" y="15295"/>
                  </a:cubicBezTo>
                  <a:cubicBezTo>
                    <a:pt x="357148" y="10347"/>
                    <a:pt x="376942" y="3599"/>
                    <a:pt x="383690" y="3599"/>
                  </a:cubicBezTo>
                  <a:close/>
                  <a:moveTo>
                    <a:pt x="762026" y="0"/>
                  </a:moveTo>
                  <a:cubicBezTo>
                    <a:pt x="778671" y="0"/>
                    <a:pt x="798465" y="0"/>
                    <a:pt x="783620" y="31940"/>
                  </a:cubicBezTo>
                  <a:cubicBezTo>
                    <a:pt x="783620" y="31940"/>
                    <a:pt x="775522" y="39588"/>
                    <a:pt x="771923" y="46786"/>
                  </a:cubicBezTo>
                  <a:cubicBezTo>
                    <a:pt x="767875" y="54433"/>
                    <a:pt x="762926" y="61631"/>
                    <a:pt x="762926" y="63881"/>
                  </a:cubicBezTo>
                  <a:cubicBezTo>
                    <a:pt x="762926" y="66130"/>
                    <a:pt x="764275" y="92222"/>
                    <a:pt x="762026" y="98070"/>
                  </a:cubicBezTo>
                  <a:cubicBezTo>
                    <a:pt x="759777" y="103919"/>
                    <a:pt x="748530" y="113367"/>
                    <a:pt x="744931" y="126863"/>
                  </a:cubicBezTo>
                  <a:cubicBezTo>
                    <a:pt x="741332" y="139909"/>
                    <a:pt x="756178" y="233931"/>
                    <a:pt x="753029" y="243378"/>
                  </a:cubicBezTo>
                  <a:cubicBezTo>
                    <a:pt x="749880" y="253275"/>
                    <a:pt x="730536" y="342348"/>
                    <a:pt x="729186" y="398581"/>
                  </a:cubicBezTo>
                  <a:cubicBezTo>
                    <a:pt x="729186" y="406678"/>
                    <a:pt x="728736" y="416126"/>
                    <a:pt x="729636" y="427372"/>
                  </a:cubicBezTo>
                  <a:lnTo>
                    <a:pt x="609972" y="427372"/>
                  </a:lnTo>
                  <a:cubicBezTo>
                    <a:pt x="614921" y="393182"/>
                    <a:pt x="621669" y="347746"/>
                    <a:pt x="624368" y="327952"/>
                  </a:cubicBezTo>
                  <a:cubicBezTo>
                    <a:pt x="627967" y="300061"/>
                    <a:pt x="631565" y="238429"/>
                    <a:pt x="631565" y="216386"/>
                  </a:cubicBezTo>
                  <a:cubicBezTo>
                    <a:pt x="631565" y="206039"/>
                    <a:pt x="633365" y="185345"/>
                    <a:pt x="635614" y="164202"/>
                  </a:cubicBezTo>
                  <a:cubicBezTo>
                    <a:pt x="637414" y="138559"/>
                    <a:pt x="639663" y="116516"/>
                    <a:pt x="643262" y="106168"/>
                  </a:cubicBezTo>
                  <a:cubicBezTo>
                    <a:pt x="646411" y="89973"/>
                    <a:pt x="653159" y="82325"/>
                    <a:pt x="654059" y="72428"/>
                  </a:cubicBezTo>
                  <a:cubicBezTo>
                    <a:pt x="654059" y="71528"/>
                    <a:pt x="654059" y="70629"/>
                    <a:pt x="654059" y="69729"/>
                  </a:cubicBezTo>
                  <a:cubicBezTo>
                    <a:pt x="654059" y="61181"/>
                    <a:pt x="654059" y="59382"/>
                    <a:pt x="656308" y="55783"/>
                  </a:cubicBezTo>
                  <a:cubicBezTo>
                    <a:pt x="657208" y="54433"/>
                    <a:pt x="658108" y="53084"/>
                    <a:pt x="659457" y="52184"/>
                  </a:cubicBezTo>
                  <a:cubicBezTo>
                    <a:pt x="664856" y="46336"/>
                    <a:pt x="672053" y="40938"/>
                    <a:pt x="673853" y="36889"/>
                  </a:cubicBezTo>
                  <a:cubicBezTo>
                    <a:pt x="673853" y="34190"/>
                    <a:pt x="673403" y="31491"/>
                    <a:pt x="672953" y="28341"/>
                  </a:cubicBezTo>
                  <a:cubicBezTo>
                    <a:pt x="671603" y="23393"/>
                    <a:pt x="670254" y="17995"/>
                    <a:pt x="671154" y="14845"/>
                  </a:cubicBezTo>
                  <a:cubicBezTo>
                    <a:pt x="670704" y="10347"/>
                    <a:pt x="672503" y="900"/>
                    <a:pt x="672503" y="900"/>
                  </a:cubicBezTo>
                  <a:cubicBezTo>
                    <a:pt x="672503" y="900"/>
                    <a:pt x="745831" y="0"/>
                    <a:pt x="762026" y="0"/>
                  </a:cubicBezTo>
                  <a:close/>
                </a:path>
              </a:pathLst>
            </a:custGeom>
            <a:gradFill>
              <a:gsLst>
                <a:gs pos="0">
                  <a:schemeClr val="tx2">
                    <a:lumMod val="75000"/>
                    <a:alpha val="50000"/>
                  </a:schemeClr>
                </a:gs>
                <a:gs pos="100000">
                  <a:schemeClr val="tx2">
                    <a:lumMod val="75000"/>
                    <a:alpha val="0"/>
                  </a:schemeClr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F7CE8283-0E92-4F13-90F5-4557A8D6C45D}"/>
                </a:ext>
              </a:extLst>
            </p:cNvPr>
            <p:cNvSpPr/>
            <p:nvPr/>
          </p:nvSpPr>
          <p:spPr>
            <a:xfrm>
              <a:off x="3072084" y="4682555"/>
              <a:ext cx="479472" cy="1667948"/>
            </a:xfrm>
            <a:custGeom>
              <a:avLst/>
              <a:gdLst>
                <a:gd name="connsiteX0" fmla="*/ 7260 w 422872"/>
                <a:gd name="connsiteY0" fmla="*/ 1464984 h 1471057"/>
                <a:gd name="connsiteX1" fmla="*/ 81487 w 422872"/>
                <a:gd name="connsiteY1" fmla="*/ 1468583 h 1471057"/>
                <a:gd name="connsiteX2" fmla="*/ 97682 w 422872"/>
                <a:gd name="connsiteY2" fmla="*/ 1464984 h 1471057"/>
                <a:gd name="connsiteX3" fmla="*/ 103081 w 422872"/>
                <a:gd name="connsiteY3" fmla="*/ 1467233 h 1471057"/>
                <a:gd name="connsiteX4" fmla="*/ 122425 w 422872"/>
                <a:gd name="connsiteY4" fmla="*/ 1464984 h 1471057"/>
                <a:gd name="connsiteX5" fmla="*/ 122425 w 422872"/>
                <a:gd name="connsiteY5" fmla="*/ 1445190 h 1471057"/>
                <a:gd name="connsiteX6" fmla="*/ 124674 w 422872"/>
                <a:gd name="connsiteY6" fmla="*/ 1434843 h 1471057"/>
                <a:gd name="connsiteX7" fmla="*/ 122875 w 422872"/>
                <a:gd name="connsiteY7" fmla="*/ 1424946 h 1471057"/>
                <a:gd name="connsiteX8" fmla="*/ 128723 w 422872"/>
                <a:gd name="connsiteY8" fmla="*/ 1426746 h 1471057"/>
                <a:gd name="connsiteX9" fmla="*/ 132322 w 422872"/>
                <a:gd name="connsiteY9" fmla="*/ 1413699 h 1471057"/>
                <a:gd name="connsiteX10" fmla="*/ 129623 w 422872"/>
                <a:gd name="connsiteY10" fmla="*/ 1409201 h 1471057"/>
                <a:gd name="connsiteX11" fmla="*/ 129173 w 422872"/>
                <a:gd name="connsiteY11" fmla="*/ 1406502 h 1471057"/>
                <a:gd name="connsiteX12" fmla="*/ 146268 w 422872"/>
                <a:gd name="connsiteY12" fmla="*/ 1393905 h 1471057"/>
                <a:gd name="connsiteX13" fmla="*/ 142219 w 422872"/>
                <a:gd name="connsiteY13" fmla="*/ 1329575 h 1471057"/>
                <a:gd name="connsiteX14" fmla="*/ 135471 w 422872"/>
                <a:gd name="connsiteY14" fmla="*/ 1233304 h 1471057"/>
                <a:gd name="connsiteX15" fmla="*/ 145368 w 422872"/>
                <a:gd name="connsiteY15" fmla="*/ 1073602 h 1471057"/>
                <a:gd name="connsiteX16" fmla="*/ 149867 w 422872"/>
                <a:gd name="connsiteY16" fmla="*/ 1053358 h 1471057"/>
                <a:gd name="connsiteX17" fmla="*/ 154365 w 422872"/>
                <a:gd name="connsiteY17" fmla="*/ 984528 h 1471057"/>
                <a:gd name="connsiteX18" fmla="*/ 167861 w 422872"/>
                <a:gd name="connsiteY18" fmla="*/ 882859 h 1471057"/>
                <a:gd name="connsiteX19" fmla="*/ 174159 w 422872"/>
                <a:gd name="connsiteY19" fmla="*/ 852718 h 1471057"/>
                <a:gd name="connsiteX20" fmla="*/ 182257 w 422872"/>
                <a:gd name="connsiteY20" fmla="*/ 822127 h 1471057"/>
                <a:gd name="connsiteX21" fmla="*/ 193503 w 422872"/>
                <a:gd name="connsiteY21" fmla="*/ 865314 h 1471057"/>
                <a:gd name="connsiteX22" fmla="*/ 199802 w 422872"/>
                <a:gd name="connsiteY22" fmla="*/ 923797 h 1471057"/>
                <a:gd name="connsiteX23" fmla="*/ 199802 w 422872"/>
                <a:gd name="connsiteY23" fmla="*/ 1056957 h 1471057"/>
                <a:gd name="connsiteX24" fmla="*/ 199802 w 422872"/>
                <a:gd name="connsiteY24" fmla="*/ 1090697 h 1471057"/>
                <a:gd name="connsiteX25" fmla="*/ 207899 w 422872"/>
                <a:gd name="connsiteY25" fmla="*/ 1130734 h 1471057"/>
                <a:gd name="connsiteX26" fmla="*/ 202951 w 422872"/>
                <a:gd name="connsiteY26" fmla="*/ 1210811 h 1471057"/>
                <a:gd name="connsiteX27" fmla="*/ 197552 w 422872"/>
                <a:gd name="connsiteY27" fmla="*/ 1343970 h 1471057"/>
                <a:gd name="connsiteX28" fmla="*/ 200251 w 422872"/>
                <a:gd name="connsiteY28" fmla="*/ 1415949 h 1471057"/>
                <a:gd name="connsiteX29" fmla="*/ 195753 w 422872"/>
                <a:gd name="connsiteY29" fmla="*/ 1446989 h 1471057"/>
                <a:gd name="connsiteX30" fmla="*/ 199352 w 422872"/>
                <a:gd name="connsiteY30" fmla="*/ 1453737 h 1471057"/>
                <a:gd name="connsiteX31" fmla="*/ 199802 w 422872"/>
                <a:gd name="connsiteY31" fmla="*/ 1465884 h 1471057"/>
                <a:gd name="connsiteX32" fmla="*/ 230392 w 422872"/>
                <a:gd name="connsiteY32" fmla="*/ 1465884 h 1471057"/>
                <a:gd name="connsiteX33" fmla="*/ 244788 w 422872"/>
                <a:gd name="connsiteY33" fmla="*/ 1462735 h 1471057"/>
                <a:gd name="connsiteX34" fmla="*/ 256935 w 422872"/>
                <a:gd name="connsiteY34" fmla="*/ 1467683 h 1471057"/>
                <a:gd name="connsiteX35" fmla="*/ 355905 w 422872"/>
                <a:gd name="connsiteY35" fmla="*/ 1462285 h 1471057"/>
                <a:gd name="connsiteX36" fmla="*/ 355455 w 422872"/>
                <a:gd name="connsiteY36" fmla="*/ 1455537 h 1471057"/>
                <a:gd name="connsiteX37" fmla="*/ 352306 w 422872"/>
                <a:gd name="connsiteY37" fmla="*/ 1441141 h 1471057"/>
                <a:gd name="connsiteX38" fmla="*/ 331162 w 422872"/>
                <a:gd name="connsiteY38" fmla="*/ 1433943 h 1471057"/>
                <a:gd name="connsiteX39" fmla="*/ 305970 w 422872"/>
                <a:gd name="connsiteY39" fmla="*/ 1415499 h 1471057"/>
                <a:gd name="connsiteX40" fmla="*/ 312718 w 422872"/>
                <a:gd name="connsiteY40" fmla="*/ 1391206 h 1471057"/>
                <a:gd name="connsiteX41" fmla="*/ 308219 w 422872"/>
                <a:gd name="connsiteY41" fmla="*/ 1365564 h 1471057"/>
                <a:gd name="connsiteX42" fmla="*/ 302371 w 422872"/>
                <a:gd name="connsiteY42" fmla="*/ 1323277 h 1471057"/>
                <a:gd name="connsiteX43" fmla="*/ 304170 w 422872"/>
                <a:gd name="connsiteY43" fmla="*/ 1259846 h 1471057"/>
                <a:gd name="connsiteX44" fmla="*/ 304170 w 422872"/>
                <a:gd name="connsiteY44" fmla="*/ 1240052 h 1471057"/>
                <a:gd name="connsiteX45" fmla="*/ 304620 w 422872"/>
                <a:gd name="connsiteY45" fmla="*/ 1202713 h 1471057"/>
                <a:gd name="connsiteX46" fmla="*/ 306869 w 422872"/>
                <a:gd name="connsiteY46" fmla="*/ 1168523 h 1471057"/>
                <a:gd name="connsiteX47" fmla="*/ 327113 w 422872"/>
                <a:gd name="connsiteY47" fmla="*/ 1007022 h 1471057"/>
                <a:gd name="connsiteX48" fmla="*/ 348707 w 422872"/>
                <a:gd name="connsiteY48" fmla="*/ 843271 h 1471057"/>
                <a:gd name="connsiteX49" fmla="*/ 345108 w 422872"/>
                <a:gd name="connsiteY49" fmla="*/ 755997 h 1471057"/>
                <a:gd name="connsiteX50" fmla="*/ 343758 w 422872"/>
                <a:gd name="connsiteY50" fmla="*/ 729005 h 1471057"/>
                <a:gd name="connsiteX51" fmla="*/ 327563 w 422872"/>
                <a:gd name="connsiteY51" fmla="*/ 645781 h 1471057"/>
                <a:gd name="connsiteX52" fmla="*/ 328013 w 422872"/>
                <a:gd name="connsiteY52" fmla="*/ 634084 h 1471057"/>
                <a:gd name="connsiteX53" fmla="*/ 334311 w 422872"/>
                <a:gd name="connsiteY53" fmla="*/ 629135 h 1471057"/>
                <a:gd name="connsiteX54" fmla="*/ 334311 w 422872"/>
                <a:gd name="connsiteY54" fmla="*/ 629135 h 1471057"/>
                <a:gd name="connsiteX55" fmla="*/ 334761 w 422872"/>
                <a:gd name="connsiteY55" fmla="*/ 627336 h 1471057"/>
                <a:gd name="connsiteX56" fmla="*/ 335211 w 422872"/>
                <a:gd name="connsiteY56" fmla="*/ 622838 h 1471057"/>
                <a:gd name="connsiteX57" fmla="*/ 334761 w 422872"/>
                <a:gd name="connsiteY57" fmla="*/ 571103 h 1471057"/>
                <a:gd name="connsiteX58" fmla="*/ 382897 w 422872"/>
                <a:gd name="connsiteY58" fmla="*/ 572902 h 1471057"/>
                <a:gd name="connsiteX59" fmla="*/ 417536 w 422872"/>
                <a:gd name="connsiteY59" fmla="*/ 556258 h 1471057"/>
                <a:gd name="connsiteX60" fmla="*/ 417536 w 422872"/>
                <a:gd name="connsiteY60" fmla="*/ 512621 h 1471057"/>
                <a:gd name="connsiteX61" fmla="*/ 410338 w 422872"/>
                <a:gd name="connsiteY61" fmla="*/ 396106 h 1471057"/>
                <a:gd name="connsiteX62" fmla="*/ 407639 w 422872"/>
                <a:gd name="connsiteY62" fmla="*/ 347970 h 1471057"/>
                <a:gd name="connsiteX63" fmla="*/ 397742 w 422872"/>
                <a:gd name="connsiteY63" fmla="*/ 327726 h 1471057"/>
                <a:gd name="connsiteX64" fmla="*/ 393243 w 422872"/>
                <a:gd name="connsiteY64" fmla="*/ 309282 h 1471057"/>
                <a:gd name="connsiteX65" fmla="*/ 376598 w 422872"/>
                <a:gd name="connsiteY65" fmla="*/ 289488 h 1471057"/>
                <a:gd name="connsiteX66" fmla="*/ 353655 w 422872"/>
                <a:gd name="connsiteY66" fmla="*/ 277342 h 1471057"/>
                <a:gd name="connsiteX67" fmla="*/ 326664 w 422872"/>
                <a:gd name="connsiteY67" fmla="*/ 265195 h 1471057"/>
                <a:gd name="connsiteX68" fmla="*/ 284826 w 422872"/>
                <a:gd name="connsiteY68" fmla="*/ 244052 h 1471057"/>
                <a:gd name="connsiteX69" fmla="*/ 279878 w 422872"/>
                <a:gd name="connsiteY69" fmla="*/ 237304 h 1471057"/>
                <a:gd name="connsiteX70" fmla="*/ 278528 w 422872"/>
                <a:gd name="connsiteY70" fmla="*/ 215260 h 1471057"/>
                <a:gd name="connsiteX71" fmla="*/ 276279 w 422872"/>
                <a:gd name="connsiteY71" fmla="*/ 207613 h 1471057"/>
                <a:gd name="connsiteX72" fmla="*/ 274029 w 422872"/>
                <a:gd name="connsiteY72" fmla="*/ 209862 h 1471057"/>
                <a:gd name="connsiteX73" fmla="*/ 278978 w 422872"/>
                <a:gd name="connsiteY73" fmla="*/ 201764 h 1471057"/>
                <a:gd name="connsiteX74" fmla="*/ 288425 w 422872"/>
                <a:gd name="connsiteY74" fmla="*/ 175222 h 1471057"/>
                <a:gd name="connsiteX75" fmla="*/ 294723 w 422872"/>
                <a:gd name="connsiteY75" fmla="*/ 136534 h 1471057"/>
                <a:gd name="connsiteX76" fmla="*/ 298322 w 422872"/>
                <a:gd name="connsiteY76" fmla="*/ 124388 h 1471057"/>
                <a:gd name="connsiteX77" fmla="*/ 298322 w 422872"/>
                <a:gd name="connsiteY77" fmla="*/ 111341 h 1471057"/>
                <a:gd name="connsiteX78" fmla="*/ 301021 w 422872"/>
                <a:gd name="connsiteY78" fmla="*/ 99645 h 1471057"/>
                <a:gd name="connsiteX79" fmla="*/ 296073 w 422872"/>
                <a:gd name="connsiteY79" fmla="*/ 87499 h 1471057"/>
                <a:gd name="connsiteX80" fmla="*/ 295623 w 422872"/>
                <a:gd name="connsiteY80" fmla="*/ 77602 h 1471057"/>
                <a:gd name="connsiteX81" fmla="*/ 290224 w 422872"/>
                <a:gd name="connsiteY81" fmla="*/ 47461 h 1471057"/>
                <a:gd name="connsiteX82" fmla="*/ 285276 w 422872"/>
                <a:gd name="connsiteY82" fmla="*/ 33065 h 1471057"/>
                <a:gd name="connsiteX83" fmla="*/ 274929 w 422872"/>
                <a:gd name="connsiteY83" fmla="*/ 19569 h 1471057"/>
                <a:gd name="connsiteX84" fmla="*/ 253785 w 422872"/>
                <a:gd name="connsiteY84" fmla="*/ 7423 h 1471057"/>
                <a:gd name="connsiteX85" fmla="*/ 240739 w 422872"/>
                <a:gd name="connsiteY85" fmla="*/ 5174 h 1471057"/>
                <a:gd name="connsiteX86" fmla="*/ 233991 w 422872"/>
                <a:gd name="connsiteY86" fmla="*/ 6973 h 1471057"/>
                <a:gd name="connsiteX87" fmla="*/ 234441 w 422872"/>
                <a:gd name="connsiteY87" fmla="*/ 3374 h 1471057"/>
                <a:gd name="connsiteX88" fmla="*/ 230842 w 422872"/>
                <a:gd name="connsiteY88" fmla="*/ 6073 h 1471057"/>
                <a:gd name="connsiteX89" fmla="*/ 221395 w 422872"/>
                <a:gd name="connsiteY89" fmla="*/ 6523 h 1471057"/>
                <a:gd name="connsiteX90" fmla="*/ 212848 w 422872"/>
                <a:gd name="connsiteY90" fmla="*/ 8322 h 1471057"/>
                <a:gd name="connsiteX91" fmla="*/ 191704 w 422872"/>
                <a:gd name="connsiteY91" fmla="*/ 20469 h 1471057"/>
                <a:gd name="connsiteX92" fmla="*/ 180008 w 422872"/>
                <a:gd name="connsiteY92" fmla="*/ 27217 h 1471057"/>
                <a:gd name="connsiteX93" fmla="*/ 168311 w 422872"/>
                <a:gd name="connsiteY93" fmla="*/ 37114 h 1471057"/>
                <a:gd name="connsiteX94" fmla="*/ 161563 w 422872"/>
                <a:gd name="connsiteY94" fmla="*/ 58707 h 1471057"/>
                <a:gd name="connsiteX95" fmla="*/ 160214 w 422872"/>
                <a:gd name="connsiteY95" fmla="*/ 83450 h 1471057"/>
                <a:gd name="connsiteX96" fmla="*/ 161563 w 422872"/>
                <a:gd name="connsiteY96" fmla="*/ 103694 h 1471057"/>
                <a:gd name="connsiteX97" fmla="*/ 163813 w 422872"/>
                <a:gd name="connsiteY97" fmla="*/ 114940 h 1471057"/>
                <a:gd name="connsiteX98" fmla="*/ 155265 w 422872"/>
                <a:gd name="connsiteY98" fmla="*/ 121688 h 1471057"/>
                <a:gd name="connsiteX99" fmla="*/ 161563 w 422872"/>
                <a:gd name="connsiteY99" fmla="*/ 146431 h 1471057"/>
                <a:gd name="connsiteX100" fmla="*/ 178658 w 422872"/>
                <a:gd name="connsiteY100" fmla="*/ 163526 h 1471057"/>
                <a:gd name="connsiteX101" fmla="*/ 183606 w 422872"/>
                <a:gd name="connsiteY101" fmla="*/ 193667 h 1471057"/>
                <a:gd name="connsiteX102" fmla="*/ 183606 w 422872"/>
                <a:gd name="connsiteY102" fmla="*/ 193667 h 1471057"/>
                <a:gd name="connsiteX103" fmla="*/ 183157 w 422872"/>
                <a:gd name="connsiteY103" fmla="*/ 195016 h 1471057"/>
                <a:gd name="connsiteX104" fmla="*/ 183157 w 422872"/>
                <a:gd name="connsiteY104" fmla="*/ 195016 h 1471057"/>
                <a:gd name="connsiteX105" fmla="*/ 173710 w 422872"/>
                <a:gd name="connsiteY105" fmla="*/ 208962 h 1471057"/>
                <a:gd name="connsiteX106" fmla="*/ 165612 w 422872"/>
                <a:gd name="connsiteY106" fmla="*/ 225157 h 1471057"/>
                <a:gd name="connsiteX107" fmla="*/ 165162 w 422872"/>
                <a:gd name="connsiteY107" fmla="*/ 228756 h 1471057"/>
                <a:gd name="connsiteX108" fmla="*/ 120625 w 422872"/>
                <a:gd name="connsiteY108" fmla="*/ 243602 h 1471057"/>
                <a:gd name="connsiteX109" fmla="*/ 62593 w 422872"/>
                <a:gd name="connsiteY109" fmla="*/ 275542 h 1471057"/>
                <a:gd name="connsiteX110" fmla="*/ 39650 w 422872"/>
                <a:gd name="connsiteY110" fmla="*/ 326377 h 1471057"/>
                <a:gd name="connsiteX111" fmla="*/ 27504 w 422872"/>
                <a:gd name="connsiteY111" fmla="*/ 403304 h 1471057"/>
                <a:gd name="connsiteX112" fmla="*/ 18956 w 422872"/>
                <a:gd name="connsiteY112" fmla="*/ 484279 h 1471057"/>
                <a:gd name="connsiteX113" fmla="*/ 30203 w 422872"/>
                <a:gd name="connsiteY113" fmla="*/ 522068 h 1471057"/>
                <a:gd name="connsiteX114" fmla="*/ 44598 w 422872"/>
                <a:gd name="connsiteY114" fmla="*/ 542312 h 1471057"/>
                <a:gd name="connsiteX115" fmla="*/ 37850 w 422872"/>
                <a:gd name="connsiteY115" fmla="*/ 588648 h 1471057"/>
                <a:gd name="connsiteX116" fmla="*/ 48197 w 422872"/>
                <a:gd name="connsiteY116" fmla="*/ 612491 h 1471057"/>
                <a:gd name="connsiteX117" fmla="*/ 49547 w 422872"/>
                <a:gd name="connsiteY117" fmla="*/ 612940 h 1471057"/>
                <a:gd name="connsiteX118" fmla="*/ 48197 w 422872"/>
                <a:gd name="connsiteY118" fmla="*/ 622838 h 1471057"/>
                <a:gd name="connsiteX119" fmla="*/ 48197 w 422872"/>
                <a:gd name="connsiteY119" fmla="*/ 634984 h 1471057"/>
                <a:gd name="connsiteX120" fmla="*/ 45498 w 422872"/>
                <a:gd name="connsiteY120" fmla="*/ 646231 h 1471057"/>
                <a:gd name="connsiteX121" fmla="*/ 43249 w 422872"/>
                <a:gd name="connsiteY121" fmla="*/ 656577 h 1471057"/>
                <a:gd name="connsiteX122" fmla="*/ 41899 w 422872"/>
                <a:gd name="connsiteY122" fmla="*/ 659276 h 1471057"/>
                <a:gd name="connsiteX123" fmla="*/ 36951 w 422872"/>
                <a:gd name="connsiteY123" fmla="*/ 679520 h 1471057"/>
                <a:gd name="connsiteX124" fmla="*/ 24804 w 422872"/>
                <a:gd name="connsiteY124" fmla="*/ 788837 h 1471057"/>
                <a:gd name="connsiteX125" fmla="*/ 27953 w 422872"/>
                <a:gd name="connsiteY125" fmla="*/ 814930 h 1471057"/>
                <a:gd name="connsiteX126" fmla="*/ 24355 w 422872"/>
                <a:gd name="connsiteY126" fmla="*/ 864865 h 1471057"/>
                <a:gd name="connsiteX127" fmla="*/ 25704 w 422872"/>
                <a:gd name="connsiteY127" fmla="*/ 904453 h 1471057"/>
                <a:gd name="connsiteX128" fmla="*/ 26154 w 422872"/>
                <a:gd name="connsiteY128" fmla="*/ 1007472 h 1471057"/>
                <a:gd name="connsiteX129" fmla="*/ 27504 w 422872"/>
                <a:gd name="connsiteY129" fmla="*/ 1056057 h 1471057"/>
                <a:gd name="connsiteX130" fmla="*/ 27504 w 422872"/>
                <a:gd name="connsiteY130" fmla="*/ 1127136 h 1471057"/>
                <a:gd name="connsiteX131" fmla="*/ 22555 w 422872"/>
                <a:gd name="connsiteY131" fmla="*/ 1284138 h 1471057"/>
                <a:gd name="connsiteX132" fmla="*/ 18056 w 422872"/>
                <a:gd name="connsiteY132" fmla="*/ 1340821 h 1471057"/>
                <a:gd name="connsiteX133" fmla="*/ 26604 w 422872"/>
                <a:gd name="connsiteY133" fmla="*/ 1360165 h 1471057"/>
                <a:gd name="connsiteX134" fmla="*/ 27953 w 422872"/>
                <a:gd name="connsiteY134" fmla="*/ 1392106 h 1471057"/>
                <a:gd name="connsiteX135" fmla="*/ 31552 w 422872"/>
                <a:gd name="connsiteY135" fmla="*/ 1416848 h 1471057"/>
                <a:gd name="connsiteX136" fmla="*/ 13108 w 422872"/>
                <a:gd name="connsiteY136" fmla="*/ 1437092 h 1471057"/>
                <a:gd name="connsiteX137" fmla="*/ 7709 w 422872"/>
                <a:gd name="connsiteY137" fmla="*/ 1456886 h 1471057"/>
                <a:gd name="connsiteX138" fmla="*/ 7260 w 422872"/>
                <a:gd name="connsiteY138" fmla="*/ 1464984 h 14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422872" h="1471057">
                  <a:moveTo>
                    <a:pt x="7260" y="1464984"/>
                  </a:moveTo>
                  <a:cubicBezTo>
                    <a:pt x="13558" y="1466783"/>
                    <a:pt x="73840" y="1469033"/>
                    <a:pt x="81487" y="1468583"/>
                  </a:cubicBezTo>
                  <a:cubicBezTo>
                    <a:pt x="89135" y="1468133"/>
                    <a:pt x="97682" y="1464984"/>
                    <a:pt x="97682" y="1464984"/>
                  </a:cubicBezTo>
                  <a:cubicBezTo>
                    <a:pt x="97682" y="1464984"/>
                    <a:pt x="101281" y="1466783"/>
                    <a:pt x="103081" y="1467233"/>
                  </a:cubicBezTo>
                  <a:cubicBezTo>
                    <a:pt x="104880" y="1467683"/>
                    <a:pt x="121075" y="1465884"/>
                    <a:pt x="122425" y="1464984"/>
                  </a:cubicBezTo>
                  <a:cubicBezTo>
                    <a:pt x="123774" y="1463634"/>
                    <a:pt x="122425" y="1451488"/>
                    <a:pt x="122425" y="1445190"/>
                  </a:cubicBezTo>
                  <a:cubicBezTo>
                    <a:pt x="124674" y="1444290"/>
                    <a:pt x="126024" y="1438892"/>
                    <a:pt x="124674" y="1434843"/>
                  </a:cubicBezTo>
                  <a:cubicBezTo>
                    <a:pt x="123774" y="1431244"/>
                    <a:pt x="122875" y="1427645"/>
                    <a:pt x="122875" y="1424946"/>
                  </a:cubicBezTo>
                  <a:cubicBezTo>
                    <a:pt x="128273" y="1427195"/>
                    <a:pt x="128723" y="1426746"/>
                    <a:pt x="128723" y="1426746"/>
                  </a:cubicBezTo>
                  <a:cubicBezTo>
                    <a:pt x="139970" y="1423596"/>
                    <a:pt x="133222" y="1419098"/>
                    <a:pt x="132322" y="1413699"/>
                  </a:cubicBezTo>
                  <a:cubicBezTo>
                    <a:pt x="131872" y="1411450"/>
                    <a:pt x="130522" y="1410100"/>
                    <a:pt x="129623" y="1409201"/>
                  </a:cubicBezTo>
                  <a:cubicBezTo>
                    <a:pt x="129623" y="1408301"/>
                    <a:pt x="129623" y="1407401"/>
                    <a:pt x="129173" y="1406502"/>
                  </a:cubicBezTo>
                  <a:cubicBezTo>
                    <a:pt x="133222" y="1406052"/>
                    <a:pt x="141769" y="1412800"/>
                    <a:pt x="146268" y="1393905"/>
                  </a:cubicBezTo>
                  <a:cubicBezTo>
                    <a:pt x="150766" y="1375011"/>
                    <a:pt x="144468" y="1346669"/>
                    <a:pt x="142219" y="1329575"/>
                  </a:cubicBezTo>
                  <a:cubicBezTo>
                    <a:pt x="139970" y="1312480"/>
                    <a:pt x="135471" y="1271542"/>
                    <a:pt x="135471" y="1233304"/>
                  </a:cubicBezTo>
                  <a:cubicBezTo>
                    <a:pt x="138620" y="1175721"/>
                    <a:pt x="142669" y="1111390"/>
                    <a:pt x="145368" y="1073602"/>
                  </a:cubicBezTo>
                  <a:cubicBezTo>
                    <a:pt x="146718" y="1067304"/>
                    <a:pt x="148067" y="1060556"/>
                    <a:pt x="149867" y="1053358"/>
                  </a:cubicBezTo>
                  <a:cubicBezTo>
                    <a:pt x="154365" y="1034464"/>
                    <a:pt x="153466" y="1004772"/>
                    <a:pt x="154365" y="984528"/>
                  </a:cubicBezTo>
                  <a:cubicBezTo>
                    <a:pt x="158864" y="948989"/>
                    <a:pt x="164262" y="907152"/>
                    <a:pt x="167861" y="882859"/>
                  </a:cubicBezTo>
                  <a:cubicBezTo>
                    <a:pt x="170110" y="873412"/>
                    <a:pt x="172360" y="862166"/>
                    <a:pt x="174159" y="852718"/>
                  </a:cubicBezTo>
                  <a:cubicBezTo>
                    <a:pt x="177758" y="838773"/>
                    <a:pt x="181807" y="819878"/>
                    <a:pt x="182257" y="822127"/>
                  </a:cubicBezTo>
                  <a:cubicBezTo>
                    <a:pt x="183157" y="824377"/>
                    <a:pt x="190804" y="852268"/>
                    <a:pt x="193503" y="865314"/>
                  </a:cubicBezTo>
                  <a:cubicBezTo>
                    <a:pt x="195753" y="878361"/>
                    <a:pt x="199802" y="908051"/>
                    <a:pt x="199802" y="923797"/>
                  </a:cubicBezTo>
                  <a:cubicBezTo>
                    <a:pt x="199802" y="939992"/>
                    <a:pt x="198452" y="1051558"/>
                    <a:pt x="199802" y="1056957"/>
                  </a:cubicBezTo>
                  <a:cubicBezTo>
                    <a:pt x="201151" y="1062355"/>
                    <a:pt x="200251" y="1081249"/>
                    <a:pt x="199802" y="1090697"/>
                  </a:cubicBezTo>
                  <a:cubicBezTo>
                    <a:pt x="199352" y="1100144"/>
                    <a:pt x="206100" y="1125786"/>
                    <a:pt x="207899" y="1130734"/>
                  </a:cubicBezTo>
                  <a:cubicBezTo>
                    <a:pt x="209249" y="1135683"/>
                    <a:pt x="203850" y="1184268"/>
                    <a:pt x="202951" y="1210811"/>
                  </a:cubicBezTo>
                  <a:cubicBezTo>
                    <a:pt x="202051" y="1237802"/>
                    <a:pt x="200251" y="1326426"/>
                    <a:pt x="197552" y="1343970"/>
                  </a:cubicBezTo>
                  <a:cubicBezTo>
                    <a:pt x="192604" y="1371862"/>
                    <a:pt x="202051" y="1393455"/>
                    <a:pt x="200251" y="1415949"/>
                  </a:cubicBezTo>
                  <a:cubicBezTo>
                    <a:pt x="199802" y="1419098"/>
                    <a:pt x="195753" y="1435743"/>
                    <a:pt x="195753" y="1446989"/>
                  </a:cubicBezTo>
                  <a:cubicBezTo>
                    <a:pt x="195753" y="1451038"/>
                    <a:pt x="199352" y="1451938"/>
                    <a:pt x="199352" y="1453737"/>
                  </a:cubicBezTo>
                  <a:cubicBezTo>
                    <a:pt x="199352" y="1460935"/>
                    <a:pt x="198452" y="1465884"/>
                    <a:pt x="199802" y="1465884"/>
                  </a:cubicBezTo>
                  <a:cubicBezTo>
                    <a:pt x="201151" y="1465884"/>
                    <a:pt x="228593" y="1465434"/>
                    <a:pt x="230392" y="1465884"/>
                  </a:cubicBezTo>
                  <a:cubicBezTo>
                    <a:pt x="232192" y="1465434"/>
                    <a:pt x="244788" y="1462735"/>
                    <a:pt x="244788" y="1462735"/>
                  </a:cubicBezTo>
                  <a:cubicBezTo>
                    <a:pt x="244788" y="1462735"/>
                    <a:pt x="247937" y="1464534"/>
                    <a:pt x="256935" y="1467683"/>
                  </a:cubicBezTo>
                  <a:cubicBezTo>
                    <a:pt x="329363" y="1473981"/>
                    <a:pt x="353205" y="1463634"/>
                    <a:pt x="355905" y="1462285"/>
                  </a:cubicBezTo>
                  <a:cubicBezTo>
                    <a:pt x="358604" y="1460935"/>
                    <a:pt x="358604" y="1456886"/>
                    <a:pt x="355455" y="1455537"/>
                  </a:cubicBezTo>
                  <a:cubicBezTo>
                    <a:pt x="355005" y="1451488"/>
                    <a:pt x="355005" y="1443390"/>
                    <a:pt x="352306" y="1441141"/>
                  </a:cubicBezTo>
                  <a:cubicBezTo>
                    <a:pt x="349607" y="1438892"/>
                    <a:pt x="336560" y="1436193"/>
                    <a:pt x="331162" y="1433943"/>
                  </a:cubicBezTo>
                  <a:cubicBezTo>
                    <a:pt x="325764" y="1431694"/>
                    <a:pt x="308669" y="1419548"/>
                    <a:pt x="305970" y="1415499"/>
                  </a:cubicBezTo>
                  <a:cubicBezTo>
                    <a:pt x="305970" y="1408751"/>
                    <a:pt x="309568" y="1402902"/>
                    <a:pt x="312718" y="1391206"/>
                  </a:cubicBezTo>
                  <a:cubicBezTo>
                    <a:pt x="316316" y="1379510"/>
                    <a:pt x="310918" y="1372762"/>
                    <a:pt x="308219" y="1365564"/>
                  </a:cubicBezTo>
                  <a:cubicBezTo>
                    <a:pt x="305070" y="1358366"/>
                    <a:pt x="301471" y="1338122"/>
                    <a:pt x="302371" y="1323277"/>
                  </a:cubicBezTo>
                  <a:cubicBezTo>
                    <a:pt x="303271" y="1308431"/>
                    <a:pt x="304170" y="1289087"/>
                    <a:pt x="304170" y="1259846"/>
                  </a:cubicBezTo>
                  <a:cubicBezTo>
                    <a:pt x="304170" y="1253548"/>
                    <a:pt x="304170" y="1246800"/>
                    <a:pt x="304170" y="1240052"/>
                  </a:cubicBezTo>
                  <a:cubicBezTo>
                    <a:pt x="304620" y="1224756"/>
                    <a:pt x="304620" y="1210811"/>
                    <a:pt x="304620" y="1202713"/>
                  </a:cubicBezTo>
                  <a:cubicBezTo>
                    <a:pt x="304620" y="1196865"/>
                    <a:pt x="305520" y="1184268"/>
                    <a:pt x="306869" y="1168523"/>
                  </a:cubicBezTo>
                  <a:cubicBezTo>
                    <a:pt x="310468" y="1138382"/>
                    <a:pt x="320365" y="1057407"/>
                    <a:pt x="327113" y="1007022"/>
                  </a:cubicBezTo>
                  <a:cubicBezTo>
                    <a:pt x="334311" y="952588"/>
                    <a:pt x="346457" y="860816"/>
                    <a:pt x="348707" y="843271"/>
                  </a:cubicBezTo>
                  <a:cubicBezTo>
                    <a:pt x="350506" y="829325"/>
                    <a:pt x="346907" y="777591"/>
                    <a:pt x="345108" y="755997"/>
                  </a:cubicBezTo>
                  <a:cubicBezTo>
                    <a:pt x="344658" y="743851"/>
                    <a:pt x="343758" y="733954"/>
                    <a:pt x="343758" y="729005"/>
                  </a:cubicBezTo>
                  <a:cubicBezTo>
                    <a:pt x="342409" y="710561"/>
                    <a:pt x="330262" y="648930"/>
                    <a:pt x="327563" y="645781"/>
                  </a:cubicBezTo>
                  <a:cubicBezTo>
                    <a:pt x="328013" y="641732"/>
                    <a:pt x="327113" y="637233"/>
                    <a:pt x="328013" y="634084"/>
                  </a:cubicBezTo>
                  <a:cubicBezTo>
                    <a:pt x="330262" y="633184"/>
                    <a:pt x="332961" y="632285"/>
                    <a:pt x="334311" y="629135"/>
                  </a:cubicBezTo>
                  <a:cubicBezTo>
                    <a:pt x="334311" y="629135"/>
                    <a:pt x="334311" y="629135"/>
                    <a:pt x="334311" y="629135"/>
                  </a:cubicBezTo>
                  <a:cubicBezTo>
                    <a:pt x="334761" y="628236"/>
                    <a:pt x="334761" y="627786"/>
                    <a:pt x="334761" y="627336"/>
                  </a:cubicBezTo>
                  <a:cubicBezTo>
                    <a:pt x="335211" y="625987"/>
                    <a:pt x="335211" y="624637"/>
                    <a:pt x="335211" y="622838"/>
                  </a:cubicBezTo>
                  <a:cubicBezTo>
                    <a:pt x="335211" y="607992"/>
                    <a:pt x="334761" y="571103"/>
                    <a:pt x="334761" y="571103"/>
                  </a:cubicBezTo>
                  <a:cubicBezTo>
                    <a:pt x="341059" y="575602"/>
                    <a:pt x="372550" y="574702"/>
                    <a:pt x="382897" y="572902"/>
                  </a:cubicBezTo>
                  <a:cubicBezTo>
                    <a:pt x="393243" y="571103"/>
                    <a:pt x="413487" y="563455"/>
                    <a:pt x="417536" y="556258"/>
                  </a:cubicBezTo>
                  <a:cubicBezTo>
                    <a:pt x="421585" y="549060"/>
                    <a:pt x="418886" y="522518"/>
                    <a:pt x="417536" y="512621"/>
                  </a:cubicBezTo>
                  <a:cubicBezTo>
                    <a:pt x="416186" y="502274"/>
                    <a:pt x="412138" y="419948"/>
                    <a:pt x="410338" y="396106"/>
                  </a:cubicBezTo>
                  <a:cubicBezTo>
                    <a:pt x="408089" y="371813"/>
                    <a:pt x="408089" y="354268"/>
                    <a:pt x="407639" y="347970"/>
                  </a:cubicBezTo>
                  <a:cubicBezTo>
                    <a:pt x="407189" y="341672"/>
                    <a:pt x="400441" y="330875"/>
                    <a:pt x="397742" y="327726"/>
                  </a:cubicBezTo>
                  <a:cubicBezTo>
                    <a:pt x="395043" y="324127"/>
                    <a:pt x="395943" y="317829"/>
                    <a:pt x="393243" y="309282"/>
                  </a:cubicBezTo>
                  <a:cubicBezTo>
                    <a:pt x="390544" y="300285"/>
                    <a:pt x="381547" y="293986"/>
                    <a:pt x="376598" y="289488"/>
                  </a:cubicBezTo>
                  <a:cubicBezTo>
                    <a:pt x="371650" y="284989"/>
                    <a:pt x="363552" y="280041"/>
                    <a:pt x="353655" y="277342"/>
                  </a:cubicBezTo>
                  <a:cubicBezTo>
                    <a:pt x="343758" y="274642"/>
                    <a:pt x="334311" y="267894"/>
                    <a:pt x="326664" y="265195"/>
                  </a:cubicBezTo>
                  <a:cubicBezTo>
                    <a:pt x="318566" y="262046"/>
                    <a:pt x="287525" y="245851"/>
                    <a:pt x="284826" y="244052"/>
                  </a:cubicBezTo>
                  <a:cubicBezTo>
                    <a:pt x="282127" y="242702"/>
                    <a:pt x="279878" y="241802"/>
                    <a:pt x="279878" y="237304"/>
                  </a:cubicBezTo>
                  <a:cubicBezTo>
                    <a:pt x="279878" y="232355"/>
                    <a:pt x="278528" y="218859"/>
                    <a:pt x="278528" y="215260"/>
                  </a:cubicBezTo>
                  <a:cubicBezTo>
                    <a:pt x="278528" y="211661"/>
                    <a:pt x="275829" y="205813"/>
                    <a:pt x="276279" y="207613"/>
                  </a:cubicBezTo>
                  <a:lnTo>
                    <a:pt x="274029" y="209862"/>
                  </a:lnTo>
                  <a:cubicBezTo>
                    <a:pt x="274929" y="207613"/>
                    <a:pt x="277628" y="203564"/>
                    <a:pt x="278978" y="201764"/>
                  </a:cubicBezTo>
                  <a:cubicBezTo>
                    <a:pt x="281227" y="199065"/>
                    <a:pt x="284826" y="190068"/>
                    <a:pt x="288425" y="175222"/>
                  </a:cubicBezTo>
                  <a:cubicBezTo>
                    <a:pt x="292024" y="160377"/>
                    <a:pt x="292924" y="144182"/>
                    <a:pt x="294723" y="136534"/>
                  </a:cubicBezTo>
                  <a:cubicBezTo>
                    <a:pt x="296972" y="134284"/>
                    <a:pt x="297872" y="127087"/>
                    <a:pt x="298322" y="124388"/>
                  </a:cubicBezTo>
                  <a:cubicBezTo>
                    <a:pt x="298772" y="121239"/>
                    <a:pt x="299222" y="115390"/>
                    <a:pt x="298322" y="111341"/>
                  </a:cubicBezTo>
                  <a:cubicBezTo>
                    <a:pt x="297422" y="107293"/>
                    <a:pt x="299222" y="104594"/>
                    <a:pt x="301021" y="99645"/>
                  </a:cubicBezTo>
                  <a:cubicBezTo>
                    <a:pt x="302371" y="94696"/>
                    <a:pt x="297422" y="90198"/>
                    <a:pt x="296073" y="87499"/>
                  </a:cubicBezTo>
                  <a:cubicBezTo>
                    <a:pt x="294723" y="84799"/>
                    <a:pt x="295173" y="82100"/>
                    <a:pt x="295623" y="77602"/>
                  </a:cubicBezTo>
                  <a:cubicBezTo>
                    <a:pt x="295623" y="73103"/>
                    <a:pt x="291574" y="53759"/>
                    <a:pt x="290224" y="47461"/>
                  </a:cubicBezTo>
                  <a:cubicBezTo>
                    <a:pt x="288875" y="41163"/>
                    <a:pt x="287525" y="38913"/>
                    <a:pt x="285276" y="33065"/>
                  </a:cubicBezTo>
                  <a:cubicBezTo>
                    <a:pt x="283027" y="27667"/>
                    <a:pt x="279428" y="25867"/>
                    <a:pt x="274929" y="19569"/>
                  </a:cubicBezTo>
                  <a:cubicBezTo>
                    <a:pt x="270430" y="13271"/>
                    <a:pt x="258284" y="8322"/>
                    <a:pt x="253785" y="7423"/>
                  </a:cubicBezTo>
                  <a:cubicBezTo>
                    <a:pt x="249737" y="6073"/>
                    <a:pt x="244338" y="4274"/>
                    <a:pt x="240739" y="5174"/>
                  </a:cubicBezTo>
                  <a:cubicBezTo>
                    <a:pt x="237140" y="6073"/>
                    <a:pt x="233092" y="8322"/>
                    <a:pt x="233991" y="6973"/>
                  </a:cubicBezTo>
                  <a:cubicBezTo>
                    <a:pt x="234891" y="5623"/>
                    <a:pt x="234441" y="3374"/>
                    <a:pt x="234441" y="3374"/>
                  </a:cubicBezTo>
                  <a:cubicBezTo>
                    <a:pt x="234441" y="3374"/>
                    <a:pt x="233092" y="4724"/>
                    <a:pt x="230842" y="6073"/>
                  </a:cubicBezTo>
                  <a:cubicBezTo>
                    <a:pt x="228593" y="7423"/>
                    <a:pt x="225894" y="7423"/>
                    <a:pt x="221395" y="6523"/>
                  </a:cubicBezTo>
                  <a:cubicBezTo>
                    <a:pt x="217346" y="6073"/>
                    <a:pt x="217346" y="6073"/>
                    <a:pt x="212848" y="8322"/>
                  </a:cubicBezTo>
                  <a:cubicBezTo>
                    <a:pt x="208349" y="10572"/>
                    <a:pt x="198452" y="15520"/>
                    <a:pt x="191704" y="20469"/>
                  </a:cubicBezTo>
                  <a:cubicBezTo>
                    <a:pt x="184956" y="25867"/>
                    <a:pt x="185406" y="24518"/>
                    <a:pt x="180008" y="27217"/>
                  </a:cubicBezTo>
                  <a:cubicBezTo>
                    <a:pt x="174609" y="29916"/>
                    <a:pt x="172360" y="32615"/>
                    <a:pt x="168311" y="37114"/>
                  </a:cubicBezTo>
                  <a:cubicBezTo>
                    <a:pt x="164262" y="41612"/>
                    <a:pt x="162463" y="48810"/>
                    <a:pt x="161563" y="58707"/>
                  </a:cubicBezTo>
                  <a:cubicBezTo>
                    <a:pt x="160663" y="68604"/>
                    <a:pt x="161113" y="78501"/>
                    <a:pt x="160214" y="83450"/>
                  </a:cubicBezTo>
                  <a:cubicBezTo>
                    <a:pt x="159314" y="88398"/>
                    <a:pt x="160663" y="99645"/>
                    <a:pt x="161563" y="103694"/>
                  </a:cubicBezTo>
                  <a:cubicBezTo>
                    <a:pt x="162013" y="107743"/>
                    <a:pt x="164712" y="113141"/>
                    <a:pt x="163813" y="114940"/>
                  </a:cubicBezTo>
                  <a:cubicBezTo>
                    <a:pt x="154365" y="109992"/>
                    <a:pt x="153915" y="118989"/>
                    <a:pt x="155265" y="121688"/>
                  </a:cubicBezTo>
                  <a:cubicBezTo>
                    <a:pt x="156615" y="124388"/>
                    <a:pt x="158414" y="133835"/>
                    <a:pt x="161563" y="146431"/>
                  </a:cubicBezTo>
                  <a:cubicBezTo>
                    <a:pt x="164712" y="158577"/>
                    <a:pt x="176858" y="160827"/>
                    <a:pt x="178658" y="163526"/>
                  </a:cubicBezTo>
                  <a:cubicBezTo>
                    <a:pt x="180907" y="166675"/>
                    <a:pt x="182707" y="181070"/>
                    <a:pt x="183606" y="193667"/>
                  </a:cubicBezTo>
                  <a:cubicBezTo>
                    <a:pt x="183606" y="193667"/>
                    <a:pt x="183606" y="193667"/>
                    <a:pt x="183606" y="193667"/>
                  </a:cubicBezTo>
                  <a:cubicBezTo>
                    <a:pt x="183606" y="194117"/>
                    <a:pt x="183606" y="194566"/>
                    <a:pt x="183157" y="195016"/>
                  </a:cubicBezTo>
                  <a:cubicBezTo>
                    <a:pt x="183157" y="195016"/>
                    <a:pt x="183157" y="195016"/>
                    <a:pt x="183157" y="195016"/>
                  </a:cubicBezTo>
                  <a:cubicBezTo>
                    <a:pt x="178658" y="196366"/>
                    <a:pt x="176409" y="203114"/>
                    <a:pt x="173710" y="208962"/>
                  </a:cubicBezTo>
                  <a:cubicBezTo>
                    <a:pt x="170561" y="215260"/>
                    <a:pt x="165612" y="225157"/>
                    <a:pt x="165612" y="225157"/>
                  </a:cubicBezTo>
                  <a:cubicBezTo>
                    <a:pt x="165612" y="225157"/>
                    <a:pt x="166962" y="227857"/>
                    <a:pt x="165162" y="228756"/>
                  </a:cubicBezTo>
                  <a:cubicBezTo>
                    <a:pt x="163363" y="229656"/>
                    <a:pt x="137720" y="236404"/>
                    <a:pt x="120625" y="243602"/>
                  </a:cubicBezTo>
                  <a:cubicBezTo>
                    <a:pt x="103531" y="250799"/>
                    <a:pt x="78788" y="264295"/>
                    <a:pt x="62593" y="275542"/>
                  </a:cubicBezTo>
                  <a:cubicBezTo>
                    <a:pt x="46398" y="286789"/>
                    <a:pt x="40100" y="313331"/>
                    <a:pt x="39650" y="326377"/>
                  </a:cubicBezTo>
                  <a:cubicBezTo>
                    <a:pt x="39200" y="339423"/>
                    <a:pt x="28853" y="386659"/>
                    <a:pt x="27504" y="403304"/>
                  </a:cubicBezTo>
                  <a:cubicBezTo>
                    <a:pt x="26154" y="420398"/>
                    <a:pt x="18056" y="472133"/>
                    <a:pt x="18956" y="484279"/>
                  </a:cubicBezTo>
                  <a:cubicBezTo>
                    <a:pt x="19406" y="496425"/>
                    <a:pt x="26154" y="515320"/>
                    <a:pt x="30203" y="522068"/>
                  </a:cubicBezTo>
                  <a:cubicBezTo>
                    <a:pt x="34252" y="528366"/>
                    <a:pt x="43699" y="539163"/>
                    <a:pt x="44598" y="542312"/>
                  </a:cubicBezTo>
                  <a:cubicBezTo>
                    <a:pt x="45048" y="545911"/>
                    <a:pt x="39200" y="576502"/>
                    <a:pt x="37850" y="588648"/>
                  </a:cubicBezTo>
                  <a:cubicBezTo>
                    <a:pt x="36501" y="600794"/>
                    <a:pt x="45948" y="611141"/>
                    <a:pt x="48197" y="612491"/>
                  </a:cubicBezTo>
                  <a:cubicBezTo>
                    <a:pt x="48197" y="612491"/>
                    <a:pt x="48197" y="612491"/>
                    <a:pt x="49547" y="612940"/>
                  </a:cubicBezTo>
                  <a:cubicBezTo>
                    <a:pt x="49097" y="615640"/>
                    <a:pt x="48197" y="618789"/>
                    <a:pt x="48197" y="622838"/>
                  </a:cubicBezTo>
                  <a:cubicBezTo>
                    <a:pt x="47748" y="630035"/>
                    <a:pt x="48197" y="634984"/>
                    <a:pt x="48197" y="634984"/>
                  </a:cubicBezTo>
                  <a:cubicBezTo>
                    <a:pt x="48197" y="634984"/>
                    <a:pt x="46848" y="639483"/>
                    <a:pt x="45498" y="646231"/>
                  </a:cubicBezTo>
                  <a:cubicBezTo>
                    <a:pt x="44598" y="650279"/>
                    <a:pt x="44148" y="653428"/>
                    <a:pt x="43249" y="656577"/>
                  </a:cubicBezTo>
                  <a:cubicBezTo>
                    <a:pt x="42799" y="657477"/>
                    <a:pt x="42349" y="658377"/>
                    <a:pt x="41899" y="659276"/>
                  </a:cubicBezTo>
                  <a:cubicBezTo>
                    <a:pt x="39650" y="663775"/>
                    <a:pt x="37850" y="675921"/>
                    <a:pt x="36951" y="679520"/>
                  </a:cubicBezTo>
                  <a:cubicBezTo>
                    <a:pt x="28853" y="711461"/>
                    <a:pt x="24355" y="763195"/>
                    <a:pt x="24804" y="788837"/>
                  </a:cubicBezTo>
                  <a:cubicBezTo>
                    <a:pt x="24804" y="794686"/>
                    <a:pt x="26604" y="807732"/>
                    <a:pt x="27953" y="814930"/>
                  </a:cubicBezTo>
                  <a:cubicBezTo>
                    <a:pt x="29303" y="822127"/>
                    <a:pt x="24804" y="856767"/>
                    <a:pt x="24355" y="864865"/>
                  </a:cubicBezTo>
                  <a:cubicBezTo>
                    <a:pt x="23904" y="872962"/>
                    <a:pt x="24355" y="895006"/>
                    <a:pt x="25704" y="904453"/>
                  </a:cubicBezTo>
                  <a:cubicBezTo>
                    <a:pt x="27054" y="913900"/>
                    <a:pt x="26154" y="991276"/>
                    <a:pt x="26154" y="1007472"/>
                  </a:cubicBezTo>
                  <a:cubicBezTo>
                    <a:pt x="26154" y="1023667"/>
                    <a:pt x="28403" y="1049309"/>
                    <a:pt x="27504" y="1056057"/>
                  </a:cubicBezTo>
                  <a:cubicBezTo>
                    <a:pt x="26604" y="1062805"/>
                    <a:pt x="27504" y="1114090"/>
                    <a:pt x="27504" y="1127136"/>
                  </a:cubicBezTo>
                  <a:cubicBezTo>
                    <a:pt x="27504" y="1139282"/>
                    <a:pt x="23005" y="1258946"/>
                    <a:pt x="22555" y="1284138"/>
                  </a:cubicBezTo>
                  <a:cubicBezTo>
                    <a:pt x="22105" y="1305282"/>
                    <a:pt x="17607" y="1332274"/>
                    <a:pt x="18056" y="1340821"/>
                  </a:cubicBezTo>
                  <a:cubicBezTo>
                    <a:pt x="18506" y="1349369"/>
                    <a:pt x="25704" y="1353417"/>
                    <a:pt x="26604" y="1360165"/>
                  </a:cubicBezTo>
                  <a:cubicBezTo>
                    <a:pt x="27504" y="1366464"/>
                    <a:pt x="28853" y="1382659"/>
                    <a:pt x="27953" y="1392106"/>
                  </a:cubicBezTo>
                  <a:cubicBezTo>
                    <a:pt x="26604" y="1401553"/>
                    <a:pt x="32002" y="1414149"/>
                    <a:pt x="31552" y="1416848"/>
                  </a:cubicBezTo>
                  <a:cubicBezTo>
                    <a:pt x="31102" y="1419548"/>
                    <a:pt x="21205" y="1430344"/>
                    <a:pt x="13108" y="1437092"/>
                  </a:cubicBezTo>
                  <a:cubicBezTo>
                    <a:pt x="4560" y="1443840"/>
                    <a:pt x="7709" y="1456886"/>
                    <a:pt x="7709" y="1456886"/>
                  </a:cubicBezTo>
                  <a:cubicBezTo>
                    <a:pt x="3211" y="1456886"/>
                    <a:pt x="962" y="1463184"/>
                    <a:pt x="7260" y="1464984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B1AE60BD-9B3A-4265-92FA-CCD8EFEE54AA}"/>
                </a:ext>
              </a:extLst>
            </p:cNvPr>
            <p:cNvSpPr/>
            <p:nvPr/>
          </p:nvSpPr>
          <p:spPr>
            <a:xfrm>
              <a:off x="2595468" y="4738133"/>
              <a:ext cx="719207" cy="1622041"/>
            </a:xfrm>
            <a:custGeom>
              <a:avLst/>
              <a:gdLst>
                <a:gd name="connsiteX0" fmla="*/ 6091 w 634308"/>
                <a:gd name="connsiteY0" fmla="*/ 1397072 h 1430569"/>
                <a:gd name="connsiteX1" fmla="*/ 1592 w 634308"/>
                <a:gd name="connsiteY1" fmla="*/ 1419115 h 1430569"/>
                <a:gd name="connsiteX2" fmla="*/ 84367 w 634308"/>
                <a:gd name="connsiteY2" fmla="*/ 1425863 h 1430569"/>
                <a:gd name="connsiteX3" fmla="*/ 87966 w 634308"/>
                <a:gd name="connsiteY3" fmla="*/ 1414617 h 1430569"/>
                <a:gd name="connsiteX4" fmla="*/ 133852 w 634308"/>
                <a:gd name="connsiteY4" fmla="*/ 1423164 h 1430569"/>
                <a:gd name="connsiteX5" fmla="*/ 133852 w 634308"/>
                <a:gd name="connsiteY5" fmla="*/ 1426313 h 1430569"/>
                <a:gd name="connsiteX6" fmla="*/ 163543 w 634308"/>
                <a:gd name="connsiteY6" fmla="*/ 1431262 h 1430569"/>
                <a:gd name="connsiteX7" fmla="*/ 187836 w 634308"/>
                <a:gd name="connsiteY7" fmla="*/ 1426763 h 1430569"/>
                <a:gd name="connsiteX8" fmla="*/ 202682 w 634308"/>
                <a:gd name="connsiteY8" fmla="*/ 1429912 h 1430569"/>
                <a:gd name="connsiteX9" fmla="*/ 315598 w 634308"/>
                <a:gd name="connsiteY9" fmla="*/ 1429912 h 1430569"/>
                <a:gd name="connsiteX10" fmla="*/ 338541 w 634308"/>
                <a:gd name="connsiteY10" fmla="*/ 1424964 h 1430569"/>
                <a:gd name="connsiteX11" fmla="*/ 342140 w 634308"/>
                <a:gd name="connsiteY11" fmla="*/ 1421815 h 1430569"/>
                <a:gd name="connsiteX12" fmla="*/ 339890 w 634308"/>
                <a:gd name="connsiteY12" fmla="*/ 1411918 h 1430569"/>
                <a:gd name="connsiteX13" fmla="*/ 333592 w 634308"/>
                <a:gd name="connsiteY13" fmla="*/ 1405619 h 1430569"/>
                <a:gd name="connsiteX14" fmla="*/ 328194 w 634308"/>
                <a:gd name="connsiteY14" fmla="*/ 1398422 h 1430569"/>
                <a:gd name="connsiteX15" fmla="*/ 295354 w 634308"/>
                <a:gd name="connsiteY15" fmla="*/ 1389874 h 1430569"/>
                <a:gd name="connsiteX16" fmla="*/ 278259 w 634308"/>
                <a:gd name="connsiteY16" fmla="*/ 1378178 h 1430569"/>
                <a:gd name="connsiteX17" fmla="*/ 263413 w 634308"/>
                <a:gd name="connsiteY17" fmla="*/ 1364682 h 1430569"/>
                <a:gd name="connsiteX18" fmla="*/ 251267 w 634308"/>
                <a:gd name="connsiteY18" fmla="*/ 1344438 h 1430569"/>
                <a:gd name="connsiteX19" fmla="*/ 254416 w 634308"/>
                <a:gd name="connsiteY19" fmla="*/ 1320145 h 1430569"/>
                <a:gd name="connsiteX20" fmla="*/ 254866 w 634308"/>
                <a:gd name="connsiteY20" fmla="*/ 1305750 h 1430569"/>
                <a:gd name="connsiteX21" fmla="*/ 244519 w 634308"/>
                <a:gd name="connsiteY21" fmla="*/ 1297652 h 1430569"/>
                <a:gd name="connsiteX22" fmla="*/ 249917 w 634308"/>
                <a:gd name="connsiteY22" fmla="*/ 1277858 h 1430569"/>
                <a:gd name="connsiteX23" fmla="*/ 244969 w 634308"/>
                <a:gd name="connsiteY23" fmla="*/ 1261663 h 1430569"/>
                <a:gd name="connsiteX24" fmla="*/ 233272 w 634308"/>
                <a:gd name="connsiteY24" fmla="*/ 1201381 h 1430569"/>
                <a:gd name="connsiteX25" fmla="*/ 223375 w 634308"/>
                <a:gd name="connsiteY25" fmla="*/ 1155495 h 1430569"/>
                <a:gd name="connsiteX26" fmla="*/ 230573 w 634308"/>
                <a:gd name="connsiteY26" fmla="*/ 1133451 h 1430569"/>
                <a:gd name="connsiteX27" fmla="*/ 240020 w 634308"/>
                <a:gd name="connsiteY27" fmla="*/ 1065072 h 1430569"/>
                <a:gd name="connsiteX28" fmla="*/ 249917 w 634308"/>
                <a:gd name="connsiteY28" fmla="*/ 950806 h 1430569"/>
                <a:gd name="connsiteX29" fmla="*/ 260264 w 634308"/>
                <a:gd name="connsiteY29" fmla="*/ 884226 h 1430569"/>
                <a:gd name="connsiteX30" fmla="*/ 265213 w 634308"/>
                <a:gd name="connsiteY30" fmla="*/ 854535 h 1430569"/>
                <a:gd name="connsiteX31" fmla="*/ 260714 w 634308"/>
                <a:gd name="connsiteY31" fmla="*/ 821245 h 1430569"/>
                <a:gd name="connsiteX32" fmla="*/ 265213 w 634308"/>
                <a:gd name="connsiteY32" fmla="*/ 789755 h 1430569"/>
                <a:gd name="connsiteX33" fmla="*/ 268812 w 634308"/>
                <a:gd name="connsiteY33" fmla="*/ 768161 h 1430569"/>
                <a:gd name="connsiteX34" fmla="*/ 274210 w 634308"/>
                <a:gd name="connsiteY34" fmla="*/ 740270 h 1430569"/>
                <a:gd name="connsiteX35" fmla="*/ 276010 w 634308"/>
                <a:gd name="connsiteY35" fmla="*/ 698882 h 1430569"/>
                <a:gd name="connsiteX36" fmla="*/ 271061 w 634308"/>
                <a:gd name="connsiteY36" fmla="*/ 652096 h 1430569"/>
                <a:gd name="connsiteX37" fmla="*/ 266562 w 634308"/>
                <a:gd name="connsiteY37" fmla="*/ 634102 h 1430569"/>
                <a:gd name="connsiteX38" fmla="*/ 278259 w 634308"/>
                <a:gd name="connsiteY38" fmla="*/ 631852 h 1430569"/>
                <a:gd name="connsiteX39" fmla="*/ 281858 w 634308"/>
                <a:gd name="connsiteY39" fmla="*/ 589115 h 1430569"/>
                <a:gd name="connsiteX40" fmla="*/ 283207 w 634308"/>
                <a:gd name="connsiteY40" fmla="*/ 536031 h 1430569"/>
                <a:gd name="connsiteX41" fmla="*/ 282758 w 634308"/>
                <a:gd name="connsiteY41" fmla="*/ 487896 h 1430569"/>
                <a:gd name="connsiteX42" fmla="*/ 279159 w 634308"/>
                <a:gd name="connsiteY42" fmla="*/ 455955 h 1430569"/>
                <a:gd name="connsiteX43" fmla="*/ 305251 w 634308"/>
                <a:gd name="connsiteY43" fmla="*/ 462703 h 1430569"/>
                <a:gd name="connsiteX44" fmla="*/ 326844 w 634308"/>
                <a:gd name="connsiteY44" fmla="*/ 466752 h 1430569"/>
                <a:gd name="connsiteX45" fmla="*/ 336291 w 634308"/>
                <a:gd name="connsiteY45" fmla="*/ 470801 h 1430569"/>
                <a:gd name="connsiteX46" fmla="*/ 358335 w 634308"/>
                <a:gd name="connsiteY46" fmla="*/ 484747 h 1430569"/>
                <a:gd name="connsiteX47" fmla="*/ 381728 w 634308"/>
                <a:gd name="connsiteY47" fmla="*/ 486546 h 1430569"/>
                <a:gd name="connsiteX48" fmla="*/ 398373 w 634308"/>
                <a:gd name="connsiteY48" fmla="*/ 468552 h 1430569"/>
                <a:gd name="connsiteX49" fmla="*/ 409619 w 634308"/>
                <a:gd name="connsiteY49" fmla="*/ 459104 h 1430569"/>
                <a:gd name="connsiteX50" fmla="*/ 410519 w 634308"/>
                <a:gd name="connsiteY50" fmla="*/ 458654 h 1430569"/>
                <a:gd name="connsiteX51" fmla="*/ 451906 w 634308"/>
                <a:gd name="connsiteY51" fmla="*/ 446058 h 1430569"/>
                <a:gd name="connsiteX52" fmla="*/ 483847 w 634308"/>
                <a:gd name="connsiteY52" fmla="*/ 435262 h 1430569"/>
                <a:gd name="connsiteX53" fmla="*/ 514438 w 634308"/>
                <a:gd name="connsiteY53" fmla="*/ 425365 h 1430569"/>
                <a:gd name="connsiteX54" fmla="*/ 523435 w 634308"/>
                <a:gd name="connsiteY54" fmla="*/ 424465 h 1430569"/>
                <a:gd name="connsiteX55" fmla="*/ 524785 w 634308"/>
                <a:gd name="connsiteY55" fmla="*/ 424915 h 1430569"/>
                <a:gd name="connsiteX56" fmla="*/ 527034 w 634308"/>
                <a:gd name="connsiteY56" fmla="*/ 426264 h 1430569"/>
                <a:gd name="connsiteX57" fmla="*/ 538281 w 634308"/>
                <a:gd name="connsiteY57" fmla="*/ 435262 h 1430569"/>
                <a:gd name="connsiteX58" fmla="*/ 558524 w 634308"/>
                <a:gd name="connsiteY58" fmla="*/ 443809 h 1430569"/>
                <a:gd name="connsiteX59" fmla="*/ 574719 w 634308"/>
                <a:gd name="connsiteY59" fmla="*/ 449657 h 1430569"/>
                <a:gd name="connsiteX60" fmla="*/ 594064 w 634308"/>
                <a:gd name="connsiteY60" fmla="*/ 461804 h 1430569"/>
                <a:gd name="connsiteX61" fmla="*/ 597213 w 634308"/>
                <a:gd name="connsiteY61" fmla="*/ 463603 h 1430569"/>
                <a:gd name="connsiteX62" fmla="*/ 600362 w 634308"/>
                <a:gd name="connsiteY62" fmla="*/ 465402 h 1430569"/>
                <a:gd name="connsiteX63" fmla="*/ 601262 w 634308"/>
                <a:gd name="connsiteY63" fmla="*/ 465852 h 1430569"/>
                <a:gd name="connsiteX64" fmla="*/ 612508 w 634308"/>
                <a:gd name="connsiteY64" fmla="*/ 468552 h 1430569"/>
                <a:gd name="connsiteX65" fmla="*/ 613408 w 634308"/>
                <a:gd name="connsiteY65" fmla="*/ 467652 h 1430569"/>
                <a:gd name="connsiteX66" fmla="*/ 613858 w 634308"/>
                <a:gd name="connsiteY66" fmla="*/ 464053 h 1430569"/>
                <a:gd name="connsiteX67" fmla="*/ 606660 w 634308"/>
                <a:gd name="connsiteY67" fmla="*/ 453706 h 1430569"/>
                <a:gd name="connsiteX68" fmla="*/ 603061 w 634308"/>
                <a:gd name="connsiteY68" fmla="*/ 451007 h 1430569"/>
                <a:gd name="connsiteX69" fmla="*/ 601262 w 634308"/>
                <a:gd name="connsiteY69" fmla="*/ 450107 h 1430569"/>
                <a:gd name="connsiteX70" fmla="*/ 590015 w 634308"/>
                <a:gd name="connsiteY70" fmla="*/ 441560 h 1430569"/>
                <a:gd name="connsiteX71" fmla="*/ 588665 w 634308"/>
                <a:gd name="connsiteY71" fmla="*/ 431213 h 1430569"/>
                <a:gd name="connsiteX72" fmla="*/ 593614 w 634308"/>
                <a:gd name="connsiteY72" fmla="*/ 428964 h 1430569"/>
                <a:gd name="connsiteX73" fmla="*/ 595863 w 634308"/>
                <a:gd name="connsiteY73" fmla="*/ 429413 h 1430569"/>
                <a:gd name="connsiteX74" fmla="*/ 596763 w 634308"/>
                <a:gd name="connsiteY74" fmla="*/ 429863 h 1430569"/>
                <a:gd name="connsiteX75" fmla="*/ 597213 w 634308"/>
                <a:gd name="connsiteY75" fmla="*/ 430313 h 1430569"/>
                <a:gd name="connsiteX76" fmla="*/ 601711 w 634308"/>
                <a:gd name="connsiteY76" fmla="*/ 433462 h 1430569"/>
                <a:gd name="connsiteX77" fmla="*/ 604860 w 634308"/>
                <a:gd name="connsiteY77" fmla="*/ 436161 h 1430569"/>
                <a:gd name="connsiteX78" fmla="*/ 614308 w 634308"/>
                <a:gd name="connsiteY78" fmla="*/ 448758 h 1430569"/>
                <a:gd name="connsiteX79" fmla="*/ 616557 w 634308"/>
                <a:gd name="connsiteY79" fmla="*/ 456855 h 1430569"/>
                <a:gd name="connsiteX80" fmla="*/ 617457 w 634308"/>
                <a:gd name="connsiteY80" fmla="*/ 468552 h 1430569"/>
                <a:gd name="connsiteX81" fmla="*/ 618356 w 634308"/>
                <a:gd name="connsiteY81" fmla="*/ 471701 h 1430569"/>
                <a:gd name="connsiteX82" fmla="*/ 621955 w 634308"/>
                <a:gd name="connsiteY82" fmla="*/ 476649 h 1430569"/>
                <a:gd name="connsiteX83" fmla="*/ 624205 w 634308"/>
                <a:gd name="connsiteY83" fmla="*/ 476649 h 1430569"/>
                <a:gd name="connsiteX84" fmla="*/ 624655 w 634308"/>
                <a:gd name="connsiteY84" fmla="*/ 476199 h 1430569"/>
                <a:gd name="connsiteX85" fmla="*/ 626004 w 634308"/>
                <a:gd name="connsiteY85" fmla="*/ 475750 h 1430569"/>
                <a:gd name="connsiteX86" fmla="*/ 628253 w 634308"/>
                <a:gd name="connsiteY86" fmla="*/ 465852 h 1430569"/>
                <a:gd name="connsiteX87" fmla="*/ 629603 w 634308"/>
                <a:gd name="connsiteY87" fmla="*/ 466302 h 1430569"/>
                <a:gd name="connsiteX88" fmla="*/ 632752 w 634308"/>
                <a:gd name="connsiteY88" fmla="*/ 464953 h 1430569"/>
                <a:gd name="connsiteX89" fmla="*/ 632752 w 634308"/>
                <a:gd name="connsiteY89" fmla="*/ 463603 h 1430569"/>
                <a:gd name="connsiteX90" fmla="*/ 633202 w 634308"/>
                <a:gd name="connsiteY90" fmla="*/ 456855 h 1430569"/>
                <a:gd name="connsiteX91" fmla="*/ 631852 w 634308"/>
                <a:gd name="connsiteY91" fmla="*/ 441110 h 1430569"/>
                <a:gd name="connsiteX92" fmla="*/ 614758 w 634308"/>
                <a:gd name="connsiteY92" fmla="*/ 415917 h 1430569"/>
                <a:gd name="connsiteX93" fmla="*/ 606660 w 634308"/>
                <a:gd name="connsiteY93" fmla="*/ 406021 h 1430569"/>
                <a:gd name="connsiteX94" fmla="*/ 606660 w 634308"/>
                <a:gd name="connsiteY94" fmla="*/ 406021 h 1430569"/>
                <a:gd name="connsiteX95" fmla="*/ 604411 w 634308"/>
                <a:gd name="connsiteY95" fmla="*/ 404671 h 1430569"/>
                <a:gd name="connsiteX96" fmla="*/ 600362 w 634308"/>
                <a:gd name="connsiteY96" fmla="*/ 401972 h 1430569"/>
                <a:gd name="connsiteX97" fmla="*/ 599912 w 634308"/>
                <a:gd name="connsiteY97" fmla="*/ 401522 h 1430569"/>
                <a:gd name="connsiteX98" fmla="*/ 593164 w 634308"/>
                <a:gd name="connsiteY98" fmla="*/ 397473 h 1430569"/>
                <a:gd name="connsiteX99" fmla="*/ 591365 w 634308"/>
                <a:gd name="connsiteY99" fmla="*/ 397473 h 1430569"/>
                <a:gd name="connsiteX100" fmla="*/ 573370 w 634308"/>
                <a:gd name="connsiteY100" fmla="*/ 395224 h 1430569"/>
                <a:gd name="connsiteX101" fmla="*/ 571571 w 634308"/>
                <a:gd name="connsiteY101" fmla="*/ 394774 h 1430569"/>
                <a:gd name="connsiteX102" fmla="*/ 552676 w 634308"/>
                <a:gd name="connsiteY102" fmla="*/ 391625 h 1430569"/>
                <a:gd name="connsiteX103" fmla="*/ 549977 w 634308"/>
                <a:gd name="connsiteY103" fmla="*/ 391175 h 1430569"/>
                <a:gd name="connsiteX104" fmla="*/ 528383 w 634308"/>
                <a:gd name="connsiteY104" fmla="*/ 387126 h 1430569"/>
                <a:gd name="connsiteX105" fmla="*/ 507240 w 634308"/>
                <a:gd name="connsiteY105" fmla="*/ 386226 h 1430569"/>
                <a:gd name="connsiteX106" fmla="*/ 446958 w 634308"/>
                <a:gd name="connsiteY106" fmla="*/ 389825 h 1430569"/>
                <a:gd name="connsiteX107" fmla="*/ 446958 w 634308"/>
                <a:gd name="connsiteY107" fmla="*/ 389825 h 1430569"/>
                <a:gd name="connsiteX108" fmla="*/ 397923 w 634308"/>
                <a:gd name="connsiteY108" fmla="*/ 373630 h 1430569"/>
                <a:gd name="connsiteX109" fmla="*/ 375880 w 634308"/>
                <a:gd name="connsiteY109" fmla="*/ 379029 h 1430569"/>
                <a:gd name="connsiteX110" fmla="*/ 365083 w 634308"/>
                <a:gd name="connsiteY110" fmla="*/ 376329 h 1430569"/>
                <a:gd name="connsiteX111" fmla="*/ 343489 w 634308"/>
                <a:gd name="connsiteY111" fmla="*/ 371381 h 1430569"/>
                <a:gd name="connsiteX112" fmla="*/ 317397 w 634308"/>
                <a:gd name="connsiteY112" fmla="*/ 365083 h 1430569"/>
                <a:gd name="connsiteX113" fmla="*/ 313348 w 634308"/>
                <a:gd name="connsiteY113" fmla="*/ 361484 h 1430569"/>
                <a:gd name="connsiteX114" fmla="*/ 301652 w 634308"/>
                <a:gd name="connsiteY114" fmla="*/ 350687 h 1430569"/>
                <a:gd name="connsiteX115" fmla="*/ 298503 w 634308"/>
                <a:gd name="connsiteY115" fmla="*/ 350687 h 1430569"/>
                <a:gd name="connsiteX116" fmla="*/ 282308 w 634308"/>
                <a:gd name="connsiteY116" fmla="*/ 334942 h 1430569"/>
                <a:gd name="connsiteX117" fmla="*/ 238221 w 634308"/>
                <a:gd name="connsiteY117" fmla="*/ 298503 h 1430569"/>
                <a:gd name="connsiteX118" fmla="*/ 225625 w 634308"/>
                <a:gd name="connsiteY118" fmla="*/ 284557 h 1430569"/>
                <a:gd name="connsiteX119" fmla="*/ 223375 w 634308"/>
                <a:gd name="connsiteY119" fmla="*/ 276459 h 1430569"/>
                <a:gd name="connsiteX120" fmla="*/ 217977 w 634308"/>
                <a:gd name="connsiteY120" fmla="*/ 267912 h 1430569"/>
                <a:gd name="connsiteX121" fmla="*/ 213478 w 634308"/>
                <a:gd name="connsiteY121" fmla="*/ 258465 h 1430569"/>
                <a:gd name="connsiteX122" fmla="*/ 207180 w 634308"/>
                <a:gd name="connsiteY122" fmla="*/ 246319 h 1430569"/>
                <a:gd name="connsiteX123" fmla="*/ 204481 w 634308"/>
                <a:gd name="connsiteY123" fmla="*/ 241820 h 1430569"/>
                <a:gd name="connsiteX124" fmla="*/ 207630 w 634308"/>
                <a:gd name="connsiteY124" fmla="*/ 227424 h 1430569"/>
                <a:gd name="connsiteX125" fmla="*/ 199982 w 634308"/>
                <a:gd name="connsiteY125" fmla="*/ 215728 h 1430569"/>
                <a:gd name="connsiteX126" fmla="*/ 200432 w 634308"/>
                <a:gd name="connsiteY126" fmla="*/ 214828 h 1430569"/>
                <a:gd name="connsiteX127" fmla="*/ 207630 w 634308"/>
                <a:gd name="connsiteY127" fmla="*/ 209430 h 1430569"/>
                <a:gd name="connsiteX128" fmla="*/ 214378 w 634308"/>
                <a:gd name="connsiteY128" fmla="*/ 214378 h 1430569"/>
                <a:gd name="connsiteX129" fmla="*/ 240470 w 634308"/>
                <a:gd name="connsiteY129" fmla="*/ 216627 h 1430569"/>
                <a:gd name="connsiteX130" fmla="*/ 246768 w 634308"/>
                <a:gd name="connsiteY130" fmla="*/ 203131 h 1430569"/>
                <a:gd name="connsiteX131" fmla="*/ 246768 w 634308"/>
                <a:gd name="connsiteY131" fmla="*/ 197733 h 1430569"/>
                <a:gd name="connsiteX132" fmla="*/ 255316 w 634308"/>
                <a:gd name="connsiteY132" fmla="*/ 191435 h 1430569"/>
                <a:gd name="connsiteX133" fmla="*/ 253516 w 634308"/>
                <a:gd name="connsiteY133" fmla="*/ 181538 h 1430569"/>
                <a:gd name="connsiteX134" fmla="*/ 258465 w 634308"/>
                <a:gd name="connsiteY134" fmla="*/ 181538 h 1430569"/>
                <a:gd name="connsiteX135" fmla="*/ 262963 w 634308"/>
                <a:gd name="connsiteY135" fmla="*/ 179738 h 1430569"/>
                <a:gd name="connsiteX136" fmla="*/ 265213 w 634308"/>
                <a:gd name="connsiteY136" fmla="*/ 168492 h 1430569"/>
                <a:gd name="connsiteX137" fmla="*/ 268812 w 634308"/>
                <a:gd name="connsiteY137" fmla="*/ 166243 h 1430569"/>
                <a:gd name="connsiteX138" fmla="*/ 280508 w 634308"/>
                <a:gd name="connsiteY138" fmla="*/ 167592 h 1430569"/>
                <a:gd name="connsiteX139" fmla="*/ 285007 w 634308"/>
                <a:gd name="connsiteY139" fmla="*/ 158145 h 1430569"/>
                <a:gd name="connsiteX140" fmla="*/ 278259 w 634308"/>
                <a:gd name="connsiteY140" fmla="*/ 141500 h 1430569"/>
                <a:gd name="connsiteX141" fmla="*/ 288606 w 634308"/>
                <a:gd name="connsiteY141" fmla="*/ 128004 h 1430569"/>
                <a:gd name="connsiteX142" fmla="*/ 289955 w 634308"/>
                <a:gd name="connsiteY142" fmla="*/ 121706 h 1430569"/>
                <a:gd name="connsiteX143" fmla="*/ 281408 w 634308"/>
                <a:gd name="connsiteY143" fmla="*/ 116757 h 1430569"/>
                <a:gd name="connsiteX144" fmla="*/ 283657 w 634308"/>
                <a:gd name="connsiteY144" fmla="*/ 88866 h 1430569"/>
                <a:gd name="connsiteX145" fmla="*/ 285907 w 634308"/>
                <a:gd name="connsiteY145" fmla="*/ 73571 h 1430569"/>
                <a:gd name="connsiteX146" fmla="*/ 294454 w 634308"/>
                <a:gd name="connsiteY146" fmla="*/ 70421 h 1430569"/>
                <a:gd name="connsiteX147" fmla="*/ 303451 w 634308"/>
                <a:gd name="connsiteY147" fmla="*/ 61424 h 1430569"/>
                <a:gd name="connsiteX148" fmla="*/ 298953 w 634308"/>
                <a:gd name="connsiteY148" fmla="*/ 64123 h 1430569"/>
                <a:gd name="connsiteX149" fmla="*/ 297153 w 634308"/>
                <a:gd name="connsiteY149" fmla="*/ 65023 h 1430569"/>
                <a:gd name="connsiteX150" fmla="*/ 298953 w 634308"/>
                <a:gd name="connsiteY150" fmla="*/ 64123 h 1430569"/>
                <a:gd name="connsiteX151" fmla="*/ 304801 w 634308"/>
                <a:gd name="connsiteY151" fmla="*/ 55126 h 1430569"/>
                <a:gd name="connsiteX152" fmla="*/ 293104 w 634308"/>
                <a:gd name="connsiteY152" fmla="*/ 54676 h 1430569"/>
                <a:gd name="connsiteX153" fmla="*/ 296703 w 634308"/>
                <a:gd name="connsiteY153" fmla="*/ 52877 h 1430569"/>
                <a:gd name="connsiteX154" fmla="*/ 293104 w 634308"/>
                <a:gd name="connsiteY154" fmla="*/ 49728 h 1430569"/>
                <a:gd name="connsiteX155" fmla="*/ 288606 w 634308"/>
                <a:gd name="connsiteY155" fmla="*/ 38481 h 1430569"/>
                <a:gd name="connsiteX156" fmla="*/ 280508 w 634308"/>
                <a:gd name="connsiteY156" fmla="*/ 31283 h 1430569"/>
                <a:gd name="connsiteX157" fmla="*/ 275110 w 634308"/>
                <a:gd name="connsiteY157" fmla="*/ 23186 h 1430569"/>
                <a:gd name="connsiteX158" fmla="*/ 260264 w 634308"/>
                <a:gd name="connsiteY158" fmla="*/ 18687 h 1430569"/>
                <a:gd name="connsiteX159" fmla="*/ 225625 w 634308"/>
                <a:gd name="connsiteY159" fmla="*/ 7440 h 1430569"/>
                <a:gd name="connsiteX160" fmla="*/ 214378 w 634308"/>
                <a:gd name="connsiteY160" fmla="*/ 5641 h 1430569"/>
                <a:gd name="connsiteX161" fmla="*/ 217077 w 634308"/>
                <a:gd name="connsiteY161" fmla="*/ 3392 h 1430569"/>
                <a:gd name="connsiteX162" fmla="*/ 210779 w 634308"/>
                <a:gd name="connsiteY162" fmla="*/ 3392 h 1430569"/>
                <a:gd name="connsiteX163" fmla="*/ 195934 w 634308"/>
                <a:gd name="connsiteY163" fmla="*/ 1592 h 1430569"/>
                <a:gd name="connsiteX164" fmla="*/ 183787 w 634308"/>
                <a:gd name="connsiteY164" fmla="*/ 3842 h 1430569"/>
                <a:gd name="connsiteX165" fmla="*/ 174340 w 634308"/>
                <a:gd name="connsiteY165" fmla="*/ 4741 h 1430569"/>
                <a:gd name="connsiteX166" fmla="*/ 169841 w 634308"/>
                <a:gd name="connsiteY166" fmla="*/ 4741 h 1430569"/>
                <a:gd name="connsiteX167" fmla="*/ 155446 w 634308"/>
                <a:gd name="connsiteY167" fmla="*/ 13289 h 1430569"/>
                <a:gd name="connsiteX168" fmla="*/ 144199 w 634308"/>
                <a:gd name="connsiteY168" fmla="*/ 24535 h 1430569"/>
                <a:gd name="connsiteX169" fmla="*/ 128904 w 634308"/>
                <a:gd name="connsiteY169" fmla="*/ 40730 h 1430569"/>
                <a:gd name="connsiteX170" fmla="*/ 109560 w 634308"/>
                <a:gd name="connsiteY170" fmla="*/ 74470 h 1430569"/>
                <a:gd name="connsiteX171" fmla="*/ 110909 w 634308"/>
                <a:gd name="connsiteY171" fmla="*/ 105961 h 1430569"/>
                <a:gd name="connsiteX172" fmla="*/ 117207 w 634308"/>
                <a:gd name="connsiteY172" fmla="*/ 153646 h 1430569"/>
                <a:gd name="connsiteX173" fmla="*/ 113159 w 634308"/>
                <a:gd name="connsiteY173" fmla="*/ 170291 h 1430569"/>
                <a:gd name="connsiteX174" fmla="*/ 91115 w 634308"/>
                <a:gd name="connsiteY174" fmla="*/ 173890 h 1430569"/>
                <a:gd name="connsiteX175" fmla="*/ 87516 w 634308"/>
                <a:gd name="connsiteY175" fmla="*/ 207180 h 1430569"/>
                <a:gd name="connsiteX176" fmla="*/ 62324 w 634308"/>
                <a:gd name="connsiteY176" fmla="*/ 232823 h 1430569"/>
                <a:gd name="connsiteX177" fmla="*/ 45679 w 634308"/>
                <a:gd name="connsiteY177" fmla="*/ 255766 h 1430569"/>
                <a:gd name="connsiteX178" fmla="*/ 26335 w 634308"/>
                <a:gd name="connsiteY178" fmla="*/ 282758 h 1430569"/>
                <a:gd name="connsiteX179" fmla="*/ 12839 w 634308"/>
                <a:gd name="connsiteY179" fmla="*/ 324145 h 1430569"/>
                <a:gd name="connsiteX180" fmla="*/ 9240 w 634308"/>
                <a:gd name="connsiteY180" fmla="*/ 355636 h 1430569"/>
                <a:gd name="connsiteX181" fmla="*/ 27684 w 634308"/>
                <a:gd name="connsiteY181" fmla="*/ 437061 h 1430569"/>
                <a:gd name="connsiteX182" fmla="*/ 50627 w 634308"/>
                <a:gd name="connsiteY182" fmla="*/ 507240 h 1430569"/>
                <a:gd name="connsiteX183" fmla="*/ 73120 w 634308"/>
                <a:gd name="connsiteY183" fmla="*/ 538281 h 1430569"/>
                <a:gd name="connsiteX184" fmla="*/ 87066 w 634308"/>
                <a:gd name="connsiteY184" fmla="*/ 558075 h 1430569"/>
                <a:gd name="connsiteX185" fmla="*/ 87516 w 634308"/>
                <a:gd name="connsiteY185" fmla="*/ 568422 h 1430569"/>
                <a:gd name="connsiteX186" fmla="*/ 85717 w 634308"/>
                <a:gd name="connsiteY186" fmla="*/ 584167 h 1430569"/>
                <a:gd name="connsiteX187" fmla="*/ 82118 w 634308"/>
                <a:gd name="connsiteY187" fmla="*/ 594064 h 1430569"/>
                <a:gd name="connsiteX188" fmla="*/ 80768 w 634308"/>
                <a:gd name="connsiteY188" fmla="*/ 595863 h 1430569"/>
                <a:gd name="connsiteX189" fmla="*/ 79419 w 634308"/>
                <a:gd name="connsiteY189" fmla="*/ 598563 h 1430569"/>
                <a:gd name="connsiteX190" fmla="*/ 74920 w 634308"/>
                <a:gd name="connsiteY190" fmla="*/ 608909 h 1430569"/>
                <a:gd name="connsiteX191" fmla="*/ 72671 w 634308"/>
                <a:gd name="connsiteY191" fmla="*/ 611159 h 1430569"/>
                <a:gd name="connsiteX192" fmla="*/ 69072 w 634308"/>
                <a:gd name="connsiteY192" fmla="*/ 615208 h 1430569"/>
                <a:gd name="connsiteX193" fmla="*/ 72671 w 634308"/>
                <a:gd name="connsiteY193" fmla="*/ 611608 h 1430569"/>
                <a:gd name="connsiteX194" fmla="*/ 69072 w 634308"/>
                <a:gd name="connsiteY194" fmla="*/ 615208 h 1430569"/>
                <a:gd name="connsiteX195" fmla="*/ 69072 w 634308"/>
                <a:gd name="connsiteY195" fmla="*/ 615208 h 1430569"/>
                <a:gd name="connsiteX196" fmla="*/ 68622 w 634308"/>
                <a:gd name="connsiteY196" fmla="*/ 615657 h 1430569"/>
                <a:gd name="connsiteX197" fmla="*/ 61874 w 634308"/>
                <a:gd name="connsiteY197" fmla="*/ 624205 h 1430569"/>
                <a:gd name="connsiteX198" fmla="*/ 60524 w 634308"/>
                <a:gd name="connsiteY198" fmla="*/ 629153 h 1430569"/>
                <a:gd name="connsiteX199" fmla="*/ 70871 w 634308"/>
                <a:gd name="connsiteY199" fmla="*/ 640850 h 1430569"/>
                <a:gd name="connsiteX200" fmla="*/ 72221 w 634308"/>
                <a:gd name="connsiteY200" fmla="*/ 640400 h 1430569"/>
                <a:gd name="connsiteX201" fmla="*/ 72221 w 634308"/>
                <a:gd name="connsiteY201" fmla="*/ 640400 h 1430569"/>
                <a:gd name="connsiteX202" fmla="*/ 69072 w 634308"/>
                <a:gd name="connsiteY202" fmla="*/ 649847 h 1430569"/>
                <a:gd name="connsiteX203" fmla="*/ 64573 w 634308"/>
                <a:gd name="connsiteY203" fmla="*/ 663343 h 1430569"/>
                <a:gd name="connsiteX204" fmla="*/ 56026 w 634308"/>
                <a:gd name="connsiteY204" fmla="*/ 683137 h 1430569"/>
                <a:gd name="connsiteX205" fmla="*/ 55576 w 634308"/>
                <a:gd name="connsiteY205" fmla="*/ 686736 h 1430569"/>
                <a:gd name="connsiteX206" fmla="*/ 54226 w 634308"/>
                <a:gd name="connsiteY206" fmla="*/ 700682 h 1430569"/>
                <a:gd name="connsiteX207" fmla="*/ 60974 w 634308"/>
                <a:gd name="connsiteY207" fmla="*/ 768161 h 1430569"/>
                <a:gd name="connsiteX208" fmla="*/ 67272 w 634308"/>
                <a:gd name="connsiteY208" fmla="*/ 789305 h 1430569"/>
                <a:gd name="connsiteX209" fmla="*/ 85717 w 634308"/>
                <a:gd name="connsiteY209" fmla="*/ 855885 h 1430569"/>
                <a:gd name="connsiteX210" fmla="*/ 89316 w 634308"/>
                <a:gd name="connsiteY210" fmla="*/ 892324 h 1430569"/>
                <a:gd name="connsiteX211" fmla="*/ 89316 w 634308"/>
                <a:gd name="connsiteY211" fmla="*/ 937310 h 1430569"/>
                <a:gd name="connsiteX212" fmla="*/ 81218 w 634308"/>
                <a:gd name="connsiteY212" fmla="*/ 956655 h 1430569"/>
                <a:gd name="connsiteX213" fmla="*/ 79868 w 634308"/>
                <a:gd name="connsiteY213" fmla="*/ 1006140 h 1430569"/>
                <a:gd name="connsiteX214" fmla="*/ 66373 w 634308"/>
                <a:gd name="connsiteY214" fmla="*/ 1025484 h 1430569"/>
                <a:gd name="connsiteX215" fmla="*/ 61424 w 634308"/>
                <a:gd name="connsiteY215" fmla="*/ 1052026 h 1430569"/>
                <a:gd name="connsiteX216" fmla="*/ 52877 w 634308"/>
                <a:gd name="connsiteY216" fmla="*/ 1069121 h 1430569"/>
                <a:gd name="connsiteX217" fmla="*/ 45679 w 634308"/>
                <a:gd name="connsiteY217" fmla="*/ 1107359 h 1430569"/>
                <a:gd name="connsiteX218" fmla="*/ 39381 w 634308"/>
                <a:gd name="connsiteY218" fmla="*/ 1150096 h 1430569"/>
                <a:gd name="connsiteX219" fmla="*/ 34882 w 634308"/>
                <a:gd name="connsiteY219" fmla="*/ 1181137 h 1430569"/>
                <a:gd name="connsiteX220" fmla="*/ 16438 w 634308"/>
                <a:gd name="connsiteY220" fmla="*/ 1281907 h 1430569"/>
                <a:gd name="connsiteX221" fmla="*/ 8340 w 634308"/>
                <a:gd name="connsiteY221" fmla="*/ 1348487 h 1430569"/>
                <a:gd name="connsiteX222" fmla="*/ 7890 w 634308"/>
                <a:gd name="connsiteY222" fmla="*/ 1371430 h 1430569"/>
                <a:gd name="connsiteX223" fmla="*/ 7440 w 634308"/>
                <a:gd name="connsiteY223" fmla="*/ 1390774 h 1430569"/>
                <a:gd name="connsiteX224" fmla="*/ 6091 w 634308"/>
                <a:gd name="connsiteY224" fmla="*/ 1397072 h 1430569"/>
                <a:gd name="connsiteX225" fmla="*/ 409619 w 634308"/>
                <a:gd name="connsiteY225" fmla="*/ 459554 h 1430569"/>
                <a:gd name="connsiteX226" fmla="*/ 409619 w 634308"/>
                <a:gd name="connsiteY226" fmla="*/ 459554 h 1430569"/>
                <a:gd name="connsiteX227" fmla="*/ 409619 w 634308"/>
                <a:gd name="connsiteY227" fmla="*/ 459554 h 1430569"/>
                <a:gd name="connsiteX228" fmla="*/ 409619 w 634308"/>
                <a:gd name="connsiteY228" fmla="*/ 459554 h 1430569"/>
                <a:gd name="connsiteX229" fmla="*/ 275110 w 634308"/>
                <a:gd name="connsiteY229" fmla="*/ 122156 h 1430569"/>
                <a:gd name="connsiteX230" fmla="*/ 285457 w 634308"/>
                <a:gd name="connsiteY230" fmla="*/ 124405 h 1430569"/>
                <a:gd name="connsiteX231" fmla="*/ 283657 w 634308"/>
                <a:gd name="connsiteY231" fmla="*/ 126205 h 1430569"/>
                <a:gd name="connsiteX232" fmla="*/ 274210 w 634308"/>
                <a:gd name="connsiteY232" fmla="*/ 133402 h 1430569"/>
                <a:gd name="connsiteX233" fmla="*/ 275110 w 634308"/>
                <a:gd name="connsiteY233" fmla="*/ 122156 h 1430569"/>
                <a:gd name="connsiteX234" fmla="*/ 130253 w 634308"/>
                <a:gd name="connsiteY234" fmla="*/ 1267061 h 1430569"/>
                <a:gd name="connsiteX235" fmla="*/ 136102 w 634308"/>
                <a:gd name="connsiteY235" fmla="*/ 1285955 h 1430569"/>
                <a:gd name="connsiteX236" fmla="*/ 143300 w 634308"/>
                <a:gd name="connsiteY236" fmla="*/ 1312048 h 1430569"/>
                <a:gd name="connsiteX237" fmla="*/ 130253 w 634308"/>
                <a:gd name="connsiteY237" fmla="*/ 1331392 h 1430569"/>
                <a:gd name="connsiteX238" fmla="*/ 130253 w 634308"/>
                <a:gd name="connsiteY238" fmla="*/ 1278758 h 1430569"/>
                <a:gd name="connsiteX239" fmla="*/ 129354 w 634308"/>
                <a:gd name="connsiteY239" fmla="*/ 1264812 h 1430569"/>
                <a:gd name="connsiteX240" fmla="*/ 130253 w 634308"/>
                <a:gd name="connsiteY240" fmla="*/ 1267061 h 1430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</a:cxnLst>
              <a:rect l="l" t="t" r="r" b="b"/>
              <a:pathLst>
                <a:path w="634308" h="1430569">
                  <a:moveTo>
                    <a:pt x="6091" y="1397072"/>
                  </a:moveTo>
                  <a:cubicBezTo>
                    <a:pt x="3391" y="1398422"/>
                    <a:pt x="1592" y="1419115"/>
                    <a:pt x="1592" y="1419115"/>
                  </a:cubicBezTo>
                  <a:cubicBezTo>
                    <a:pt x="45229" y="1431262"/>
                    <a:pt x="83468" y="1426763"/>
                    <a:pt x="84367" y="1425863"/>
                  </a:cubicBezTo>
                  <a:cubicBezTo>
                    <a:pt x="85267" y="1424964"/>
                    <a:pt x="87966" y="1414617"/>
                    <a:pt x="87966" y="1414617"/>
                  </a:cubicBezTo>
                  <a:cubicBezTo>
                    <a:pt x="105511" y="1421365"/>
                    <a:pt x="133852" y="1423164"/>
                    <a:pt x="133852" y="1423164"/>
                  </a:cubicBezTo>
                  <a:cubicBezTo>
                    <a:pt x="133402" y="1425863"/>
                    <a:pt x="133852" y="1426313"/>
                    <a:pt x="133852" y="1426313"/>
                  </a:cubicBezTo>
                  <a:cubicBezTo>
                    <a:pt x="139701" y="1429912"/>
                    <a:pt x="163543" y="1431262"/>
                    <a:pt x="163543" y="1431262"/>
                  </a:cubicBezTo>
                  <a:lnTo>
                    <a:pt x="187836" y="1426763"/>
                  </a:lnTo>
                  <a:cubicBezTo>
                    <a:pt x="190985" y="1429462"/>
                    <a:pt x="195034" y="1429462"/>
                    <a:pt x="202682" y="1429912"/>
                  </a:cubicBezTo>
                  <a:cubicBezTo>
                    <a:pt x="209879" y="1430362"/>
                    <a:pt x="306600" y="1429912"/>
                    <a:pt x="315598" y="1429912"/>
                  </a:cubicBezTo>
                  <a:cubicBezTo>
                    <a:pt x="324595" y="1429912"/>
                    <a:pt x="334942" y="1427213"/>
                    <a:pt x="338541" y="1424964"/>
                  </a:cubicBezTo>
                  <a:cubicBezTo>
                    <a:pt x="342140" y="1422714"/>
                    <a:pt x="342140" y="1421815"/>
                    <a:pt x="342140" y="1421815"/>
                  </a:cubicBezTo>
                  <a:cubicBezTo>
                    <a:pt x="342140" y="1421815"/>
                    <a:pt x="341240" y="1414617"/>
                    <a:pt x="339890" y="1411918"/>
                  </a:cubicBezTo>
                  <a:cubicBezTo>
                    <a:pt x="338541" y="1409218"/>
                    <a:pt x="337641" y="1407419"/>
                    <a:pt x="333592" y="1405619"/>
                  </a:cubicBezTo>
                  <a:cubicBezTo>
                    <a:pt x="333142" y="1403370"/>
                    <a:pt x="331343" y="1400671"/>
                    <a:pt x="328194" y="1398422"/>
                  </a:cubicBezTo>
                  <a:cubicBezTo>
                    <a:pt x="320996" y="1393473"/>
                    <a:pt x="302102" y="1391674"/>
                    <a:pt x="295354" y="1389874"/>
                  </a:cubicBezTo>
                  <a:cubicBezTo>
                    <a:pt x="288606" y="1387625"/>
                    <a:pt x="283207" y="1383126"/>
                    <a:pt x="278259" y="1378178"/>
                  </a:cubicBezTo>
                  <a:cubicBezTo>
                    <a:pt x="272860" y="1373229"/>
                    <a:pt x="268812" y="1371430"/>
                    <a:pt x="263413" y="1364682"/>
                  </a:cubicBezTo>
                  <a:cubicBezTo>
                    <a:pt x="258015" y="1357484"/>
                    <a:pt x="252167" y="1348937"/>
                    <a:pt x="251267" y="1344438"/>
                  </a:cubicBezTo>
                  <a:cubicBezTo>
                    <a:pt x="249917" y="1339489"/>
                    <a:pt x="252167" y="1325994"/>
                    <a:pt x="254416" y="1320145"/>
                  </a:cubicBezTo>
                  <a:cubicBezTo>
                    <a:pt x="256665" y="1314747"/>
                    <a:pt x="257565" y="1309348"/>
                    <a:pt x="254866" y="1305750"/>
                  </a:cubicBezTo>
                  <a:cubicBezTo>
                    <a:pt x="252617" y="1302151"/>
                    <a:pt x="246318" y="1301251"/>
                    <a:pt x="244519" y="1297652"/>
                  </a:cubicBezTo>
                  <a:cubicBezTo>
                    <a:pt x="242270" y="1294053"/>
                    <a:pt x="247668" y="1282806"/>
                    <a:pt x="249917" y="1277858"/>
                  </a:cubicBezTo>
                  <a:cubicBezTo>
                    <a:pt x="252167" y="1272909"/>
                    <a:pt x="247668" y="1267961"/>
                    <a:pt x="244969" y="1261663"/>
                  </a:cubicBezTo>
                  <a:cubicBezTo>
                    <a:pt x="242270" y="1255815"/>
                    <a:pt x="236871" y="1218926"/>
                    <a:pt x="233272" y="1201381"/>
                  </a:cubicBezTo>
                  <a:cubicBezTo>
                    <a:pt x="229674" y="1183836"/>
                    <a:pt x="224725" y="1159993"/>
                    <a:pt x="223375" y="1155495"/>
                  </a:cubicBezTo>
                  <a:cubicBezTo>
                    <a:pt x="222026" y="1150996"/>
                    <a:pt x="228324" y="1145148"/>
                    <a:pt x="230573" y="1133451"/>
                  </a:cubicBezTo>
                  <a:cubicBezTo>
                    <a:pt x="233272" y="1121305"/>
                    <a:pt x="236422" y="1094763"/>
                    <a:pt x="240020" y="1065072"/>
                  </a:cubicBezTo>
                  <a:cubicBezTo>
                    <a:pt x="243170" y="1034931"/>
                    <a:pt x="249018" y="968801"/>
                    <a:pt x="249917" y="950806"/>
                  </a:cubicBezTo>
                  <a:cubicBezTo>
                    <a:pt x="250817" y="933262"/>
                    <a:pt x="256215" y="898172"/>
                    <a:pt x="260264" y="884226"/>
                  </a:cubicBezTo>
                  <a:cubicBezTo>
                    <a:pt x="264313" y="869831"/>
                    <a:pt x="266112" y="861733"/>
                    <a:pt x="265213" y="854535"/>
                  </a:cubicBezTo>
                  <a:cubicBezTo>
                    <a:pt x="264313" y="847338"/>
                    <a:pt x="262064" y="836991"/>
                    <a:pt x="260714" y="821245"/>
                  </a:cubicBezTo>
                  <a:cubicBezTo>
                    <a:pt x="259814" y="805500"/>
                    <a:pt x="263413" y="795603"/>
                    <a:pt x="265213" y="789755"/>
                  </a:cubicBezTo>
                  <a:cubicBezTo>
                    <a:pt x="266562" y="783907"/>
                    <a:pt x="268362" y="775809"/>
                    <a:pt x="268812" y="768161"/>
                  </a:cubicBezTo>
                  <a:cubicBezTo>
                    <a:pt x="269262" y="760514"/>
                    <a:pt x="271511" y="750617"/>
                    <a:pt x="274210" y="740270"/>
                  </a:cubicBezTo>
                  <a:cubicBezTo>
                    <a:pt x="276909" y="729923"/>
                    <a:pt x="277359" y="713728"/>
                    <a:pt x="276010" y="698882"/>
                  </a:cubicBezTo>
                  <a:cubicBezTo>
                    <a:pt x="274660" y="684037"/>
                    <a:pt x="271061" y="659744"/>
                    <a:pt x="271061" y="652096"/>
                  </a:cubicBezTo>
                  <a:cubicBezTo>
                    <a:pt x="271061" y="644449"/>
                    <a:pt x="264763" y="634102"/>
                    <a:pt x="266562" y="634102"/>
                  </a:cubicBezTo>
                  <a:cubicBezTo>
                    <a:pt x="268812" y="634102"/>
                    <a:pt x="278259" y="635901"/>
                    <a:pt x="278259" y="631852"/>
                  </a:cubicBezTo>
                  <a:cubicBezTo>
                    <a:pt x="278259" y="627804"/>
                    <a:pt x="279608" y="620156"/>
                    <a:pt x="281858" y="589115"/>
                  </a:cubicBezTo>
                  <a:cubicBezTo>
                    <a:pt x="284107" y="558974"/>
                    <a:pt x="283207" y="538731"/>
                    <a:pt x="283207" y="536031"/>
                  </a:cubicBezTo>
                  <a:cubicBezTo>
                    <a:pt x="283207" y="532432"/>
                    <a:pt x="280958" y="507240"/>
                    <a:pt x="282758" y="487896"/>
                  </a:cubicBezTo>
                  <a:cubicBezTo>
                    <a:pt x="283657" y="477099"/>
                    <a:pt x="281408" y="464503"/>
                    <a:pt x="279159" y="455955"/>
                  </a:cubicBezTo>
                  <a:cubicBezTo>
                    <a:pt x="290405" y="460004"/>
                    <a:pt x="301202" y="461804"/>
                    <a:pt x="305251" y="462703"/>
                  </a:cubicBezTo>
                  <a:cubicBezTo>
                    <a:pt x="312448" y="464503"/>
                    <a:pt x="318297" y="464503"/>
                    <a:pt x="326844" y="466752"/>
                  </a:cubicBezTo>
                  <a:cubicBezTo>
                    <a:pt x="335392" y="468552"/>
                    <a:pt x="334042" y="466752"/>
                    <a:pt x="336291" y="470801"/>
                  </a:cubicBezTo>
                  <a:cubicBezTo>
                    <a:pt x="338091" y="474850"/>
                    <a:pt x="351587" y="481148"/>
                    <a:pt x="358335" y="484747"/>
                  </a:cubicBezTo>
                  <a:cubicBezTo>
                    <a:pt x="365532" y="488795"/>
                    <a:pt x="374980" y="487896"/>
                    <a:pt x="381728" y="486546"/>
                  </a:cubicBezTo>
                  <a:cubicBezTo>
                    <a:pt x="388476" y="484747"/>
                    <a:pt x="394774" y="475750"/>
                    <a:pt x="398373" y="468552"/>
                  </a:cubicBezTo>
                  <a:cubicBezTo>
                    <a:pt x="401072" y="463153"/>
                    <a:pt x="402871" y="463603"/>
                    <a:pt x="409619" y="459104"/>
                  </a:cubicBezTo>
                  <a:cubicBezTo>
                    <a:pt x="409619" y="459104"/>
                    <a:pt x="410069" y="459104"/>
                    <a:pt x="410519" y="458654"/>
                  </a:cubicBezTo>
                  <a:cubicBezTo>
                    <a:pt x="422216" y="455506"/>
                    <a:pt x="439310" y="450557"/>
                    <a:pt x="451906" y="446058"/>
                  </a:cubicBezTo>
                  <a:cubicBezTo>
                    <a:pt x="459554" y="443359"/>
                    <a:pt x="471701" y="439310"/>
                    <a:pt x="483847" y="435262"/>
                  </a:cubicBezTo>
                  <a:cubicBezTo>
                    <a:pt x="500042" y="429863"/>
                    <a:pt x="513088" y="425814"/>
                    <a:pt x="514438" y="425365"/>
                  </a:cubicBezTo>
                  <a:cubicBezTo>
                    <a:pt x="519386" y="424015"/>
                    <a:pt x="519386" y="423565"/>
                    <a:pt x="523435" y="424465"/>
                  </a:cubicBezTo>
                  <a:cubicBezTo>
                    <a:pt x="523885" y="424465"/>
                    <a:pt x="524335" y="424915"/>
                    <a:pt x="524785" y="424915"/>
                  </a:cubicBezTo>
                  <a:cubicBezTo>
                    <a:pt x="525684" y="425365"/>
                    <a:pt x="526134" y="425814"/>
                    <a:pt x="527034" y="426264"/>
                  </a:cubicBezTo>
                  <a:cubicBezTo>
                    <a:pt x="530183" y="428514"/>
                    <a:pt x="533782" y="431663"/>
                    <a:pt x="538281" y="435262"/>
                  </a:cubicBezTo>
                  <a:cubicBezTo>
                    <a:pt x="549077" y="443359"/>
                    <a:pt x="554926" y="443359"/>
                    <a:pt x="558524" y="443809"/>
                  </a:cubicBezTo>
                  <a:cubicBezTo>
                    <a:pt x="562123" y="444259"/>
                    <a:pt x="570671" y="447408"/>
                    <a:pt x="574719" y="449657"/>
                  </a:cubicBezTo>
                  <a:cubicBezTo>
                    <a:pt x="577419" y="451457"/>
                    <a:pt x="587316" y="457305"/>
                    <a:pt x="594064" y="461804"/>
                  </a:cubicBezTo>
                  <a:cubicBezTo>
                    <a:pt x="594963" y="462703"/>
                    <a:pt x="596313" y="463153"/>
                    <a:pt x="597213" y="463603"/>
                  </a:cubicBezTo>
                  <a:cubicBezTo>
                    <a:pt x="598112" y="464053"/>
                    <a:pt x="599462" y="464953"/>
                    <a:pt x="600362" y="465402"/>
                  </a:cubicBezTo>
                  <a:cubicBezTo>
                    <a:pt x="600812" y="465852"/>
                    <a:pt x="601262" y="465852"/>
                    <a:pt x="601262" y="465852"/>
                  </a:cubicBezTo>
                  <a:cubicBezTo>
                    <a:pt x="604411" y="467202"/>
                    <a:pt x="608909" y="470351"/>
                    <a:pt x="612508" y="468552"/>
                  </a:cubicBezTo>
                  <a:cubicBezTo>
                    <a:pt x="612958" y="468552"/>
                    <a:pt x="613408" y="468102"/>
                    <a:pt x="613408" y="467652"/>
                  </a:cubicBezTo>
                  <a:cubicBezTo>
                    <a:pt x="614308" y="466752"/>
                    <a:pt x="614308" y="465402"/>
                    <a:pt x="613858" y="464053"/>
                  </a:cubicBezTo>
                  <a:cubicBezTo>
                    <a:pt x="612958" y="460904"/>
                    <a:pt x="610709" y="456855"/>
                    <a:pt x="606660" y="453706"/>
                  </a:cubicBezTo>
                  <a:cubicBezTo>
                    <a:pt x="605310" y="452357"/>
                    <a:pt x="603961" y="451906"/>
                    <a:pt x="603061" y="451007"/>
                  </a:cubicBezTo>
                  <a:cubicBezTo>
                    <a:pt x="602161" y="450557"/>
                    <a:pt x="601711" y="450107"/>
                    <a:pt x="601262" y="450107"/>
                  </a:cubicBezTo>
                  <a:cubicBezTo>
                    <a:pt x="599462" y="449207"/>
                    <a:pt x="594064" y="445609"/>
                    <a:pt x="590015" y="441560"/>
                  </a:cubicBezTo>
                  <a:cubicBezTo>
                    <a:pt x="585966" y="437511"/>
                    <a:pt x="587316" y="433912"/>
                    <a:pt x="588665" y="431213"/>
                  </a:cubicBezTo>
                  <a:cubicBezTo>
                    <a:pt x="589565" y="429413"/>
                    <a:pt x="591365" y="428964"/>
                    <a:pt x="593614" y="428964"/>
                  </a:cubicBezTo>
                  <a:cubicBezTo>
                    <a:pt x="594514" y="428964"/>
                    <a:pt x="594963" y="429413"/>
                    <a:pt x="595863" y="429413"/>
                  </a:cubicBezTo>
                  <a:cubicBezTo>
                    <a:pt x="596313" y="429413"/>
                    <a:pt x="596313" y="429863"/>
                    <a:pt x="596763" y="429863"/>
                  </a:cubicBezTo>
                  <a:cubicBezTo>
                    <a:pt x="596763" y="429863"/>
                    <a:pt x="597213" y="429863"/>
                    <a:pt x="597213" y="430313"/>
                  </a:cubicBezTo>
                  <a:cubicBezTo>
                    <a:pt x="599012" y="431663"/>
                    <a:pt x="599912" y="432113"/>
                    <a:pt x="601711" y="433462"/>
                  </a:cubicBezTo>
                  <a:cubicBezTo>
                    <a:pt x="603061" y="434362"/>
                    <a:pt x="603961" y="435262"/>
                    <a:pt x="604860" y="436161"/>
                  </a:cubicBezTo>
                  <a:cubicBezTo>
                    <a:pt x="606660" y="438411"/>
                    <a:pt x="612508" y="446058"/>
                    <a:pt x="614308" y="448758"/>
                  </a:cubicBezTo>
                  <a:cubicBezTo>
                    <a:pt x="616107" y="451457"/>
                    <a:pt x="616557" y="454156"/>
                    <a:pt x="616557" y="456855"/>
                  </a:cubicBezTo>
                  <a:cubicBezTo>
                    <a:pt x="616557" y="459554"/>
                    <a:pt x="616107" y="462703"/>
                    <a:pt x="617457" y="468552"/>
                  </a:cubicBezTo>
                  <a:cubicBezTo>
                    <a:pt x="617457" y="469451"/>
                    <a:pt x="617907" y="470351"/>
                    <a:pt x="618356" y="471701"/>
                  </a:cubicBezTo>
                  <a:cubicBezTo>
                    <a:pt x="619256" y="474850"/>
                    <a:pt x="620606" y="476199"/>
                    <a:pt x="621955" y="476649"/>
                  </a:cubicBezTo>
                  <a:cubicBezTo>
                    <a:pt x="622405" y="477099"/>
                    <a:pt x="623305" y="477099"/>
                    <a:pt x="624205" y="476649"/>
                  </a:cubicBezTo>
                  <a:cubicBezTo>
                    <a:pt x="624205" y="476649"/>
                    <a:pt x="624655" y="476649"/>
                    <a:pt x="624655" y="476199"/>
                  </a:cubicBezTo>
                  <a:cubicBezTo>
                    <a:pt x="625104" y="476199"/>
                    <a:pt x="625554" y="475750"/>
                    <a:pt x="626004" y="475750"/>
                  </a:cubicBezTo>
                  <a:cubicBezTo>
                    <a:pt x="628253" y="474400"/>
                    <a:pt x="627804" y="469002"/>
                    <a:pt x="628253" y="465852"/>
                  </a:cubicBezTo>
                  <a:cubicBezTo>
                    <a:pt x="628703" y="466302"/>
                    <a:pt x="629153" y="466302"/>
                    <a:pt x="629603" y="466302"/>
                  </a:cubicBezTo>
                  <a:cubicBezTo>
                    <a:pt x="631403" y="467652"/>
                    <a:pt x="633202" y="466752"/>
                    <a:pt x="632752" y="464953"/>
                  </a:cubicBezTo>
                  <a:cubicBezTo>
                    <a:pt x="632752" y="464503"/>
                    <a:pt x="632752" y="464053"/>
                    <a:pt x="632752" y="463603"/>
                  </a:cubicBezTo>
                  <a:cubicBezTo>
                    <a:pt x="632752" y="461804"/>
                    <a:pt x="633202" y="459554"/>
                    <a:pt x="633202" y="456855"/>
                  </a:cubicBezTo>
                  <a:cubicBezTo>
                    <a:pt x="633202" y="454156"/>
                    <a:pt x="635001" y="447408"/>
                    <a:pt x="631852" y="441110"/>
                  </a:cubicBezTo>
                  <a:cubicBezTo>
                    <a:pt x="628703" y="435262"/>
                    <a:pt x="619706" y="423115"/>
                    <a:pt x="614758" y="415917"/>
                  </a:cubicBezTo>
                  <a:cubicBezTo>
                    <a:pt x="610709" y="409619"/>
                    <a:pt x="608459" y="407370"/>
                    <a:pt x="606660" y="406021"/>
                  </a:cubicBezTo>
                  <a:cubicBezTo>
                    <a:pt x="606660" y="406021"/>
                    <a:pt x="606660" y="406021"/>
                    <a:pt x="606660" y="406021"/>
                  </a:cubicBezTo>
                  <a:cubicBezTo>
                    <a:pt x="605760" y="405571"/>
                    <a:pt x="605310" y="405121"/>
                    <a:pt x="604411" y="404671"/>
                  </a:cubicBezTo>
                  <a:cubicBezTo>
                    <a:pt x="602611" y="403771"/>
                    <a:pt x="601711" y="403771"/>
                    <a:pt x="600362" y="401972"/>
                  </a:cubicBezTo>
                  <a:cubicBezTo>
                    <a:pt x="600362" y="401972"/>
                    <a:pt x="599912" y="401522"/>
                    <a:pt x="599912" y="401522"/>
                  </a:cubicBezTo>
                  <a:cubicBezTo>
                    <a:pt x="598112" y="399722"/>
                    <a:pt x="595413" y="397473"/>
                    <a:pt x="593164" y="397473"/>
                  </a:cubicBezTo>
                  <a:cubicBezTo>
                    <a:pt x="592714" y="397473"/>
                    <a:pt x="592264" y="397473"/>
                    <a:pt x="591365" y="397473"/>
                  </a:cubicBezTo>
                  <a:cubicBezTo>
                    <a:pt x="587316" y="397023"/>
                    <a:pt x="579218" y="396123"/>
                    <a:pt x="573370" y="395224"/>
                  </a:cubicBezTo>
                  <a:cubicBezTo>
                    <a:pt x="572920" y="395224"/>
                    <a:pt x="572470" y="395224"/>
                    <a:pt x="571571" y="394774"/>
                  </a:cubicBezTo>
                  <a:cubicBezTo>
                    <a:pt x="564373" y="393424"/>
                    <a:pt x="557175" y="392525"/>
                    <a:pt x="552676" y="391625"/>
                  </a:cubicBezTo>
                  <a:cubicBezTo>
                    <a:pt x="551776" y="391625"/>
                    <a:pt x="550877" y="391175"/>
                    <a:pt x="549977" y="391175"/>
                  </a:cubicBezTo>
                  <a:cubicBezTo>
                    <a:pt x="540080" y="389375"/>
                    <a:pt x="530633" y="388026"/>
                    <a:pt x="528383" y="387126"/>
                  </a:cubicBezTo>
                  <a:cubicBezTo>
                    <a:pt x="524335" y="385777"/>
                    <a:pt x="515787" y="385777"/>
                    <a:pt x="507240" y="386226"/>
                  </a:cubicBezTo>
                  <a:cubicBezTo>
                    <a:pt x="499142" y="386676"/>
                    <a:pt x="446958" y="388476"/>
                    <a:pt x="446958" y="389825"/>
                  </a:cubicBezTo>
                  <a:lnTo>
                    <a:pt x="446958" y="389825"/>
                  </a:lnTo>
                  <a:cubicBezTo>
                    <a:pt x="443809" y="388476"/>
                    <a:pt x="421766" y="378129"/>
                    <a:pt x="397923" y="373630"/>
                  </a:cubicBezTo>
                  <a:cubicBezTo>
                    <a:pt x="379478" y="370031"/>
                    <a:pt x="378129" y="377229"/>
                    <a:pt x="375880" y="379029"/>
                  </a:cubicBezTo>
                  <a:cubicBezTo>
                    <a:pt x="374080" y="380828"/>
                    <a:pt x="373180" y="379478"/>
                    <a:pt x="365083" y="376329"/>
                  </a:cubicBezTo>
                  <a:cubicBezTo>
                    <a:pt x="356535" y="373180"/>
                    <a:pt x="352487" y="373180"/>
                    <a:pt x="343489" y="371381"/>
                  </a:cubicBezTo>
                  <a:cubicBezTo>
                    <a:pt x="336741" y="370031"/>
                    <a:pt x="324145" y="368682"/>
                    <a:pt x="317397" y="365083"/>
                  </a:cubicBezTo>
                  <a:cubicBezTo>
                    <a:pt x="315148" y="363283"/>
                    <a:pt x="313348" y="361484"/>
                    <a:pt x="313348" y="361484"/>
                  </a:cubicBezTo>
                  <a:cubicBezTo>
                    <a:pt x="308850" y="355186"/>
                    <a:pt x="307050" y="351137"/>
                    <a:pt x="301652" y="350687"/>
                  </a:cubicBezTo>
                  <a:cubicBezTo>
                    <a:pt x="300752" y="350687"/>
                    <a:pt x="299403" y="350687"/>
                    <a:pt x="298503" y="350687"/>
                  </a:cubicBezTo>
                  <a:cubicBezTo>
                    <a:pt x="292205" y="350237"/>
                    <a:pt x="288156" y="345289"/>
                    <a:pt x="282308" y="334942"/>
                  </a:cubicBezTo>
                  <a:cubicBezTo>
                    <a:pt x="275560" y="324145"/>
                    <a:pt x="252617" y="312899"/>
                    <a:pt x="238221" y="298503"/>
                  </a:cubicBezTo>
                  <a:cubicBezTo>
                    <a:pt x="232373" y="292655"/>
                    <a:pt x="228324" y="288156"/>
                    <a:pt x="225625" y="284557"/>
                  </a:cubicBezTo>
                  <a:cubicBezTo>
                    <a:pt x="226074" y="282308"/>
                    <a:pt x="224725" y="279159"/>
                    <a:pt x="223375" y="276459"/>
                  </a:cubicBezTo>
                  <a:cubicBezTo>
                    <a:pt x="222026" y="273760"/>
                    <a:pt x="218427" y="270611"/>
                    <a:pt x="217977" y="267912"/>
                  </a:cubicBezTo>
                  <a:cubicBezTo>
                    <a:pt x="217077" y="265213"/>
                    <a:pt x="215278" y="262514"/>
                    <a:pt x="213478" y="258465"/>
                  </a:cubicBezTo>
                  <a:cubicBezTo>
                    <a:pt x="211679" y="254866"/>
                    <a:pt x="209430" y="250367"/>
                    <a:pt x="207180" y="246319"/>
                  </a:cubicBezTo>
                  <a:cubicBezTo>
                    <a:pt x="205831" y="244069"/>
                    <a:pt x="204931" y="242270"/>
                    <a:pt x="204481" y="241820"/>
                  </a:cubicBezTo>
                  <a:cubicBezTo>
                    <a:pt x="204931" y="236422"/>
                    <a:pt x="205831" y="230573"/>
                    <a:pt x="207630" y="227424"/>
                  </a:cubicBezTo>
                  <a:cubicBezTo>
                    <a:pt x="207630" y="227424"/>
                    <a:pt x="205381" y="222476"/>
                    <a:pt x="199982" y="215728"/>
                  </a:cubicBezTo>
                  <a:cubicBezTo>
                    <a:pt x="199982" y="215278"/>
                    <a:pt x="200432" y="214828"/>
                    <a:pt x="200432" y="214828"/>
                  </a:cubicBezTo>
                  <a:cubicBezTo>
                    <a:pt x="201332" y="212129"/>
                    <a:pt x="205831" y="209430"/>
                    <a:pt x="207630" y="209430"/>
                  </a:cubicBezTo>
                  <a:cubicBezTo>
                    <a:pt x="209879" y="209430"/>
                    <a:pt x="210779" y="211679"/>
                    <a:pt x="214378" y="214378"/>
                  </a:cubicBezTo>
                  <a:cubicBezTo>
                    <a:pt x="217977" y="217077"/>
                    <a:pt x="231923" y="219327"/>
                    <a:pt x="240470" y="216627"/>
                  </a:cubicBezTo>
                  <a:cubicBezTo>
                    <a:pt x="249018" y="214378"/>
                    <a:pt x="247218" y="204481"/>
                    <a:pt x="246768" y="203131"/>
                  </a:cubicBezTo>
                  <a:cubicBezTo>
                    <a:pt x="246318" y="201782"/>
                    <a:pt x="245419" y="199982"/>
                    <a:pt x="246768" y="197733"/>
                  </a:cubicBezTo>
                  <a:cubicBezTo>
                    <a:pt x="248118" y="195484"/>
                    <a:pt x="253966" y="192335"/>
                    <a:pt x="255316" y="191435"/>
                  </a:cubicBezTo>
                  <a:cubicBezTo>
                    <a:pt x="256665" y="190985"/>
                    <a:pt x="253516" y="183338"/>
                    <a:pt x="253516" y="181538"/>
                  </a:cubicBezTo>
                  <a:cubicBezTo>
                    <a:pt x="253516" y="179738"/>
                    <a:pt x="257565" y="181088"/>
                    <a:pt x="258465" y="181538"/>
                  </a:cubicBezTo>
                  <a:cubicBezTo>
                    <a:pt x="259365" y="181988"/>
                    <a:pt x="261164" y="181988"/>
                    <a:pt x="262963" y="179738"/>
                  </a:cubicBezTo>
                  <a:cubicBezTo>
                    <a:pt x="264313" y="177489"/>
                    <a:pt x="265213" y="170291"/>
                    <a:pt x="265213" y="168492"/>
                  </a:cubicBezTo>
                  <a:cubicBezTo>
                    <a:pt x="265213" y="166693"/>
                    <a:pt x="267012" y="165793"/>
                    <a:pt x="268812" y="166243"/>
                  </a:cubicBezTo>
                  <a:cubicBezTo>
                    <a:pt x="271061" y="166693"/>
                    <a:pt x="276010" y="168042"/>
                    <a:pt x="280508" y="167592"/>
                  </a:cubicBezTo>
                  <a:cubicBezTo>
                    <a:pt x="285457" y="167142"/>
                    <a:pt x="285457" y="160394"/>
                    <a:pt x="285007" y="158145"/>
                  </a:cubicBezTo>
                  <a:cubicBezTo>
                    <a:pt x="284557" y="155896"/>
                    <a:pt x="280508" y="148248"/>
                    <a:pt x="278259" y="141500"/>
                  </a:cubicBezTo>
                  <a:cubicBezTo>
                    <a:pt x="281408" y="139251"/>
                    <a:pt x="287706" y="129354"/>
                    <a:pt x="288606" y="128004"/>
                  </a:cubicBezTo>
                  <a:cubicBezTo>
                    <a:pt x="289506" y="126205"/>
                    <a:pt x="291305" y="123505"/>
                    <a:pt x="289955" y="121706"/>
                  </a:cubicBezTo>
                  <a:cubicBezTo>
                    <a:pt x="288606" y="119907"/>
                    <a:pt x="281408" y="116757"/>
                    <a:pt x="281408" y="116757"/>
                  </a:cubicBezTo>
                  <a:cubicBezTo>
                    <a:pt x="283657" y="114958"/>
                    <a:pt x="284107" y="98313"/>
                    <a:pt x="283657" y="88866"/>
                  </a:cubicBezTo>
                  <a:cubicBezTo>
                    <a:pt x="283657" y="79419"/>
                    <a:pt x="285007" y="75370"/>
                    <a:pt x="285907" y="73571"/>
                  </a:cubicBezTo>
                  <a:cubicBezTo>
                    <a:pt x="286806" y="71321"/>
                    <a:pt x="287706" y="72221"/>
                    <a:pt x="294454" y="70421"/>
                  </a:cubicBezTo>
                  <a:cubicBezTo>
                    <a:pt x="301652" y="68622"/>
                    <a:pt x="303451" y="62324"/>
                    <a:pt x="303451" y="61424"/>
                  </a:cubicBezTo>
                  <a:cubicBezTo>
                    <a:pt x="301202" y="62774"/>
                    <a:pt x="299852" y="63673"/>
                    <a:pt x="298953" y="64123"/>
                  </a:cubicBezTo>
                  <a:cubicBezTo>
                    <a:pt x="298503" y="64573"/>
                    <a:pt x="298053" y="65023"/>
                    <a:pt x="297153" y="65023"/>
                  </a:cubicBezTo>
                  <a:cubicBezTo>
                    <a:pt x="297153" y="65023"/>
                    <a:pt x="297603" y="64573"/>
                    <a:pt x="298953" y="64123"/>
                  </a:cubicBezTo>
                  <a:cubicBezTo>
                    <a:pt x="306151" y="59175"/>
                    <a:pt x="304801" y="55126"/>
                    <a:pt x="304801" y="55126"/>
                  </a:cubicBezTo>
                  <a:cubicBezTo>
                    <a:pt x="299852" y="60075"/>
                    <a:pt x="293104" y="54676"/>
                    <a:pt x="293104" y="54676"/>
                  </a:cubicBezTo>
                  <a:cubicBezTo>
                    <a:pt x="294904" y="54676"/>
                    <a:pt x="296703" y="52877"/>
                    <a:pt x="296703" y="52877"/>
                  </a:cubicBezTo>
                  <a:cubicBezTo>
                    <a:pt x="294904" y="53327"/>
                    <a:pt x="294004" y="53327"/>
                    <a:pt x="293104" y="49728"/>
                  </a:cubicBezTo>
                  <a:cubicBezTo>
                    <a:pt x="292205" y="46129"/>
                    <a:pt x="292655" y="42980"/>
                    <a:pt x="288606" y="38481"/>
                  </a:cubicBezTo>
                  <a:cubicBezTo>
                    <a:pt x="284557" y="33982"/>
                    <a:pt x="282758" y="33083"/>
                    <a:pt x="280508" y="31283"/>
                  </a:cubicBezTo>
                  <a:cubicBezTo>
                    <a:pt x="278259" y="29484"/>
                    <a:pt x="278259" y="26784"/>
                    <a:pt x="275110" y="23186"/>
                  </a:cubicBezTo>
                  <a:cubicBezTo>
                    <a:pt x="271511" y="19587"/>
                    <a:pt x="267462" y="21386"/>
                    <a:pt x="260264" y="18687"/>
                  </a:cubicBezTo>
                  <a:cubicBezTo>
                    <a:pt x="253066" y="15988"/>
                    <a:pt x="228774" y="8790"/>
                    <a:pt x="225625" y="7440"/>
                  </a:cubicBezTo>
                  <a:cubicBezTo>
                    <a:pt x="222926" y="6541"/>
                    <a:pt x="213029" y="5641"/>
                    <a:pt x="214378" y="5641"/>
                  </a:cubicBezTo>
                  <a:cubicBezTo>
                    <a:pt x="216178" y="5641"/>
                    <a:pt x="217077" y="3392"/>
                    <a:pt x="217077" y="3392"/>
                  </a:cubicBezTo>
                  <a:cubicBezTo>
                    <a:pt x="217077" y="3392"/>
                    <a:pt x="215278" y="4291"/>
                    <a:pt x="210779" y="3392"/>
                  </a:cubicBezTo>
                  <a:cubicBezTo>
                    <a:pt x="206281" y="2492"/>
                    <a:pt x="200432" y="1592"/>
                    <a:pt x="195934" y="1592"/>
                  </a:cubicBezTo>
                  <a:cubicBezTo>
                    <a:pt x="191435" y="1592"/>
                    <a:pt x="188286" y="2942"/>
                    <a:pt x="183787" y="3842"/>
                  </a:cubicBezTo>
                  <a:cubicBezTo>
                    <a:pt x="179738" y="4741"/>
                    <a:pt x="176140" y="5191"/>
                    <a:pt x="174340" y="4741"/>
                  </a:cubicBezTo>
                  <a:cubicBezTo>
                    <a:pt x="171641" y="3842"/>
                    <a:pt x="169841" y="4741"/>
                    <a:pt x="169841" y="4741"/>
                  </a:cubicBezTo>
                  <a:cubicBezTo>
                    <a:pt x="165793" y="4741"/>
                    <a:pt x="162194" y="8340"/>
                    <a:pt x="155446" y="13289"/>
                  </a:cubicBezTo>
                  <a:cubicBezTo>
                    <a:pt x="149148" y="18237"/>
                    <a:pt x="149597" y="20936"/>
                    <a:pt x="144199" y="24535"/>
                  </a:cubicBezTo>
                  <a:cubicBezTo>
                    <a:pt x="138801" y="28134"/>
                    <a:pt x="134752" y="31733"/>
                    <a:pt x="128904" y="40730"/>
                  </a:cubicBezTo>
                  <a:cubicBezTo>
                    <a:pt x="123056" y="49278"/>
                    <a:pt x="115408" y="63224"/>
                    <a:pt x="109560" y="74470"/>
                  </a:cubicBezTo>
                  <a:cubicBezTo>
                    <a:pt x="104161" y="85717"/>
                    <a:pt x="108660" y="97413"/>
                    <a:pt x="110909" y="105961"/>
                  </a:cubicBezTo>
                  <a:cubicBezTo>
                    <a:pt x="113159" y="114508"/>
                    <a:pt x="117207" y="147348"/>
                    <a:pt x="117207" y="153646"/>
                  </a:cubicBezTo>
                  <a:cubicBezTo>
                    <a:pt x="117207" y="158595"/>
                    <a:pt x="114508" y="167142"/>
                    <a:pt x="113159" y="170291"/>
                  </a:cubicBezTo>
                  <a:cubicBezTo>
                    <a:pt x="104161" y="168492"/>
                    <a:pt x="92465" y="167592"/>
                    <a:pt x="91115" y="173890"/>
                  </a:cubicBezTo>
                  <a:cubicBezTo>
                    <a:pt x="88866" y="183338"/>
                    <a:pt x="88416" y="202682"/>
                    <a:pt x="87516" y="207180"/>
                  </a:cubicBezTo>
                  <a:cubicBezTo>
                    <a:pt x="81668" y="212579"/>
                    <a:pt x="68622" y="226075"/>
                    <a:pt x="62324" y="232823"/>
                  </a:cubicBezTo>
                  <a:cubicBezTo>
                    <a:pt x="56026" y="239571"/>
                    <a:pt x="51977" y="247668"/>
                    <a:pt x="45679" y="255766"/>
                  </a:cubicBezTo>
                  <a:cubicBezTo>
                    <a:pt x="39381" y="263863"/>
                    <a:pt x="33532" y="271961"/>
                    <a:pt x="26335" y="282758"/>
                  </a:cubicBezTo>
                  <a:cubicBezTo>
                    <a:pt x="19137" y="294004"/>
                    <a:pt x="15088" y="314248"/>
                    <a:pt x="12839" y="324145"/>
                  </a:cubicBezTo>
                  <a:cubicBezTo>
                    <a:pt x="10139" y="334042"/>
                    <a:pt x="10139" y="344389"/>
                    <a:pt x="9240" y="355636"/>
                  </a:cubicBezTo>
                  <a:cubicBezTo>
                    <a:pt x="7890" y="366882"/>
                    <a:pt x="22736" y="421766"/>
                    <a:pt x="27684" y="437061"/>
                  </a:cubicBezTo>
                  <a:cubicBezTo>
                    <a:pt x="33083" y="452357"/>
                    <a:pt x="44329" y="491495"/>
                    <a:pt x="50627" y="507240"/>
                  </a:cubicBezTo>
                  <a:cubicBezTo>
                    <a:pt x="55126" y="519386"/>
                    <a:pt x="65923" y="531533"/>
                    <a:pt x="73120" y="538281"/>
                  </a:cubicBezTo>
                  <a:cubicBezTo>
                    <a:pt x="79419" y="545928"/>
                    <a:pt x="86167" y="552676"/>
                    <a:pt x="87066" y="558075"/>
                  </a:cubicBezTo>
                  <a:cubicBezTo>
                    <a:pt x="87966" y="562573"/>
                    <a:pt x="87966" y="565722"/>
                    <a:pt x="87516" y="568422"/>
                  </a:cubicBezTo>
                  <a:cubicBezTo>
                    <a:pt x="85717" y="572470"/>
                    <a:pt x="84817" y="581018"/>
                    <a:pt x="85717" y="584167"/>
                  </a:cubicBezTo>
                  <a:cubicBezTo>
                    <a:pt x="87066" y="587316"/>
                    <a:pt x="85267" y="591365"/>
                    <a:pt x="82118" y="594064"/>
                  </a:cubicBezTo>
                  <a:cubicBezTo>
                    <a:pt x="81668" y="594514"/>
                    <a:pt x="81218" y="595413"/>
                    <a:pt x="80768" y="595863"/>
                  </a:cubicBezTo>
                  <a:cubicBezTo>
                    <a:pt x="80318" y="596763"/>
                    <a:pt x="79868" y="597663"/>
                    <a:pt x="79419" y="598563"/>
                  </a:cubicBezTo>
                  <a:cubicBezTo>
                    <a:pt x="77619" y="602161"/>
                    <a:pt x="76270" y="606660"/>
                    <a:pt x="74920" y="608909"/>
                  </a:cubicBezTo>
                  <a:cubicBezTo>
                    <a:pt x="74470" y="609809"/>
                    <a:pt x="73571" y="610259"/>
                    <a:pt x="72671" y="611159"/>
                  </a:cubicBezTo>
                  <a:cubicBezTo>
                    <a:pt x="71321" y="612058"/>
                    <a:pt x="69972" y="613408"/>
                    <a:pt x="69072" y="615208"/>
                  </a:cubicBezTo>
                  <a:cubicBezTo>
                    <a:pt x="69972" y="614308"/>
                    <a:pt x="71321" y="612958"/>
                    <a:pt x="72671" y="611608"/>
                  </a:cubicBezTo>
                  <a:cubicBezTo>
                    <a:pt x="71771" y="612508"/>
                    <a:pt x="70421" y="613858"/>
                    <a:pt x="69072" y="615208"/>
                  </a:cubicBezTo>
                  <a:cubicBezTo>
                    <a:pt x="69072" y="615208"/>
                    <a:pt x="69072" y="615208"/>
                    <a:pt x="69072" y="615208"/>
                  </a:cubicBezTo>
                  <a:cubicBezTo>
                    <a:pt x="69072" y="615208"/>
                    <a:pt x="69072" y="615208"/>
                    <a:pt x="68622" y="615657"/>
                  </a:cubicBezTo>
                  <a:cubicBezTo>
                    <a:pt x="65923" y="618356"/>
                    <a:pt x="63673" y="621056"/>
                    <a:pt x="61874" y="624205"/>
                  </a:cubicBezTo>
                  <a:cubicBezTo>
                    <a:pt x="60974" y="626004"/>
                    <a:pt x="60524" y="627804"/>
                    <a:pt x="60524" y="629153"/>
                  </a:cubicBezTo>
                  <a:cubicBezTo>
                    <a:pt x="58275" y="639500"/>
                    <a:pt x="65923" y="643099"/>
                    <a:pt x="70871" y="640850"/>
                  </a:cubicBezTo>
                  <a:cubicBezTo>
                    <a:pt x="71321" y="640850"/>
                    <a:pt x="71771" y="640400"/>
                    <a:pt x="72221" y="640400"/>
                  </a:cubicBezTo>
                  <a:cubicBezTo>
                    <a:pt x="72221" y="640400"/>
                    <a:pt x="72221" y="640400"/>
                    <a:pt x="72221" y="640400"/>
                  </a:cubicBezTo>
                  <a:cubicBezTo>
                    <a:pt x="72221" y="640400"/>
                    <a:pt x="70871" y="644899"/>
                    <a:pt x="69072" y="649847"/>
                  </a:cubicBezTo>
                  <a:cubicBezTo>
                    <a:pt x="68172" y="652546"/>
                    <a:pt x="66373" y="657945"/>
                    <a:pt x="64573" y="663343"/>
                  </a:cubicBezTo>
                  <a:cubicBezTo>
                    <a:pt x="61424" y="670091"/>
                    <a:pt x="56925" y="676839"/>
                    <a:pt x="56026" y="683137"/>
                  </a:cubicBezTo>
                  <a:cubicBezTo>
                    <a:pt x="56026" y="684037"/>
                    <a:pt x="55576" y="685386"/>
                    <a:pt x="55576" y="686736"/>
                  </a:cubicBezTo>
                  <a:cubicBezTo>
                    <a:pt x="54676" y="691234"/>
                    <a:pt x="54226" y="696183"/>
                    <a:pt x="54226" y="700682"/>
                  </a:cubicBezTo>
                  <a:cubicBezTo>
                    <a:pt x="54226" y="710129"/>
                    <a:pt x="59625" y="759164"/>
                    <a:pt x="60974" y="768161"/>
                  </a:cubicBezTo>
                  <a:cubicBezTo>
                    <a:pt x="62324" y="776709"/>
                    <a:pt x="64573" y="783907"/>
                    <a:pt x="67272" y="789305"/>
                  </a:cubicBezTo>
                  <a:cubicBezTo>
                    <a:pt x="69522" y="794703"/>
                    <a:pt x="82118" y="839690"/>
                    <a:pt x="85717" y="855885"/>
                  </a:cubicBezTo>
                  <a:cubicBezTo>
                    <a:pt x="89316" y="872080"/>
                    <a:pt x="90216" y="881077"/>
                    <a:pt x="89316" y="892324"/>
                  </a:cubicBezTo>
                  <a:cubicBezTo>
                    <a:pt x="88416" y="903571"/>
                    <a:pt x="88416" y="931912"/>
                    <a:pt x="89316" y="937310"/>
                  </a:cubicBezTo>
                  <a:cubicBezTo>
                    <a:pt x="90216" y="942709"/>
                    <a:pt x="85717" y="946757"/>
                    <a:pt x="81218" y="956655"/>
                  </a:cubicBezTo>
                  <a:cubicBezTo>
                    <a:pt x="76720" y="966552"/>
                    <a:pt x="78969" y="997142"/>
                    <a:pt x="79868" y="1006140"/>
                  </a:cubicBezTo>
                  <a:cubicBezTo>
                    <a:pt x="80768" y="1015137"/>
                    <a:pt x="69522" y="1020985"/>
                    <a:pt x="66373" y="1025484"/>
                  </a:cubicBezTo>
                  <a:cubicBezTo>
                    <a:pt x="63224" y="1029982"/>
                    <a:pt x="61874" y="1047078"/>
                    <a:pt x="61424" y="1052026"/>
                  </a:cubicBezTo>
                  <a:cubicBezTo>
                    <a:pt x="60974" y="1056974"/>
                    <a:pt x="54226" y="1059674"/>
                    <a:pt x="52877" y="1069121"/>
                  </a:cubicBezTo>
                  <a:cubicBezTo>
                    <a:pt x="51527" y="1078568"/>
                    <a:pt x="48828" y="1096563"/>
                    <a:pt x="45679" y="1107359"/>
                  </a:cubicBezTo>
                  <a:cubicBezTo>
                    <a:pt x="42080" y="1118156"/>
                    <a:pt x="42530" y="1140199"/>
                    <a:pt x="39381" y="1150096"/>
                  </a:cubicBezTo>
                  <a:cubicBezTo>
                    <a:pt x="36232" y="1159544"/>
                    <a:pt x="37131" y="1171690"/>
                    <a:pt x="34882" y="1181137"/>
                  </a:cubicBezTo>
                  <a:cubicBezTo>
                    <a:pt x="32633" y="1190584"/>
                    <a:pt x="20037" y="1265262"/>
                    <a:pt x="16438" y="1281907"/>
                  </a:cubicBezTo>
                  <a:cubicBezTo>
                    <a:pt x="12839" y="1298102"/>
                    <a:pt x="9240" y="1340839"/>
                    <a:pt x="8340" y="1348487"/>
                  </a:cubicBezTo>
                  <a:cubicBezTo>
                    <a:pt x="7890" y="1356134"/>
                    <a:pt x="6091" y="1364682"/>
                    <a:pt x="7890" y="1371430"/>
                  </a:cubicBezTo>
                  <a:cubicBezTo>
                    <a:pt x="9690" y="1377728"/>
                    <a:pt x="6541" y="1385825"/>
                    <a:pt x="7440" y="1390774"/>
                  </a:cubicBezTo>
                  <a:cubicBezTo>
                    <a:pt x="6991" y="1394823"/>
                    <a:pt x="8790" y="1395273"/>
                    <a:pt x="6091" y="1397072"/>
                  </a:cubicBezTo>
                  <a:close/>
                  <a:moveTo>
                    <a:pt x="409619" y="459554"/>
                  </a:moveTo>
                  <a:lnTo>
                    <a:pt x="409619" y="459554"/>
                  </a:lnTo>
                  <a:lnTo>
                    <a:pt x="409619" y="459554"/>
                  </a:lnTo>
                  <a:cubicBezTo>
                    <a:pt x="409619" y="459554"/>
                    <a:pt x="409619" y="459554"/>
                    <a:pt x="409619" y="459554"/>
                  </a:cubicBezTo>
                  <a:close/>
                  <a:moveTo>
                    <a:pt x="275110" y="122156"/>
                  </a:moveTo>
                  <a:cubicBezTo>
                    <a:pt x="280058" y="122606"/>
                    <a:pt x="285457" y="124405"/>
                    <a:pt x="285457" y="124405"/>
                  </a:cubicBezTo>
                  <a:cubicBezTo>
                    <a:pt x="285457" y="124405"/>
                    <a:pt x="285457" y="125305"/>
                    <a:pt x="283657" y="126205"/>
                  </a:cubicBezTo>
                  <a:cubicBezTo>
                    <a:pt x="281858" y="127105"/>
                    <a:pt x="276459" y="130703"/>
                    <a:pt x="274210" y="133402"/>
                  </a:cubicBezTo>
                  <a:cubicBezTo>
                    <a:pt x="274210" y="133852"/>
                    <a:pt x="271061" y="123505"/>
                    <a:pt x="275110" y="122156"/>
                  </a:cubicBezTo>
                  <a:close/>
                  <a:moveTo>
                    <a:pt x="130253" y="1267061"/>
                  </a:moveTo>
                  <a:cubicBezTo>
                    <a:pt x="131153" y="1272460"/>
                    <a:pt x="133402" y="1281457"/>
                    <a:pt x="136102" y="1285955"/>
                  </a:cubicBezTo>
                  <a:cubicBezTo>
                    <a:pt x="140150" y="1292703"/>
                    <a:pt x="143749" y="1305300"/>
                    <a:pt x="143300" y="1312048"/>
                  </a:cubicBezTo>
                  <a:cubicBezTo>
                    <a:pt x="142850" y="1318346"/>
                    <a:pt x="130253" y="1331392"/>
                    <a:pt x="130253" y="1331392"/>
                  </a:cubicBezTo>
                  <a:cubicBezTo>
                    <a:pt x="130253" y="1331392"/>
                    <a:pt x="130703" y="1290904"/>
                    <a:pt x="130253" y="1278758"/>
                  </a:cubicBezTo>
                  <a:cubicBezTo>
                    <a:pt x="129804" y="1271560"/>
                    <a:pt x="129804" y="1267511"/>
                    <a:pt x="129354" y="1264812"/>
                  </a:cubicBezTo>
                  <a:cubicBezTo>
                    <a:pt x="129804" y="1265712"/>
                    <a:pt x="130253" y="1266611"/>
                    <a:pt x="130253" y="1267061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C96D3954-491A-488C-89E5-4BF8499086FE}"/>
                </a:ext>
              </a:extLst>
            </p:cNvPr>
            <p:cNvSpPr/>
            <p:nvPr/>
          </p:nvSpPr>
          <p:spPr>
            <a:xfrm>
              <a:off x="3564251" y="4770327"/>
              <a:ext cx="555982" cy="1581235"/>
            </a:xfrm>
            <a:custGeom>
              <a:avLst/>
              <a:gdLst>
                <a:gd name="connsiteX0" fmla="*/ 201650 w 490352"/>
                <a:gd name="connsiteY0" fmla="*/ 82516 h 1394580"/>
                <a:gd name="connsiteX1" fmla="*/ 198951 w 490352"/>
                <a:gd name="connsiteY1" fmla="*/ 69470 h 1394580"/>
                <a:gd name="connsiteX2" fmla="*/ 185005 w 490352"/>
                <a:gd name="connsiteY2" fmla="*/ 42028 h 1394580"/>
                <a:gd name="connsiteX3" fmla="*/ 159813 w 490352"/>
                <a:gd name="connsiteY3" fmla="*/ 19085 h 1394580"/>
                <a:gd name="connsiteX4" fmla="*/ 138669 w 490352"/>
                <a:gd name="connsiteY4" fmla="*/ 13687 h 1394580"/>
                <a:gd name="connsiteX5" fmla="*/ 126973 w 490352"/>
                <a:gd name="connsiteY5" fmla="*/ 6489 h 1394580"/>
                <a:gd name="connsiteX6" fmla="*/ 81986 w 490352"/>
                <a:gd name="connsiteY6" fmla="*/ 6039 h 1394580"/>
                <a:gd name="connsiteX7" fmla="*/ 33851 w 490352"/>
                <a:gd name="connsiteY7" fmla="*/ 33031 h 1394580"/>
                <a:gd name="connsiteX8" fmla="*/ 8658 w 490352"/>
                <a:gd name="connsiteY8" fmla="*/ 73519 h 1394580"/>
                <a:gd name="connsiteX9" fmla="*/ 10458 w 490352"/>
                <a:gd name="connsiteY9" fmla="*/ 127053 h 1394580"/>
                <a:gd name="connsiteX10" fmla="*/ 20355 w 490352"/>
                <a:gd name="connsiteY10" fmla="*/ 133351 h 1394580"/>
                <a:gd name="connsiteX11" fmla="*/ 29352 w 490352"/>
                <a:gd name="connsiteY11" fmla="*/ 140998 h 1394580"/>
                <a:gd name="connsiteX12" fmla="*/ 39249 w 490352"/>
                <a:gd name="connsiteY12" fmla="*/ 149546 h 1394580"/>
                <a:gd name="connsiteX13" fmla="*/ 36100 w 490352"/>
                <a:gd name="connsiteY13" fmla="*/ 176088 h 1394580"/>
                <a:gd name="connsiteX14" fmla="*/ 46897 w 490352"/>
                <a:gd name="connsiteY14" fmla="*/ 185085 h 1394580"/>
                <a:gd name="connsiteX15" fmla="*/ 49146 w 490352"/>
                <a:gd name="connsiteY15" fmla="*/ 195882 h 1394580"/>
                <a:gd name="connsiteX16" fmla="*/ 54545 w 490352"/>
                <a:gd name="connsiteY16" fmla="*/ 199931 h 1394580"/>
                <a:gd name="connsiteX17" fmla="*/ 56344 w 490352"/>
                <a:gd name="connsiteY17" fmla="*/ 206229 h 1394580"/>
                <a:gd name="connsiteX18" fmla="*/ 54545 w 490352"/>
                <a:gd name="connsiteY18" fmla="*/ 224223 h 1394580"/>
                <a:gd name="connsiteX19" fmla="*/ 51845 w 490352"/>
                <a:gd name="connsiteY19" fmla="*/ 238169 h 1394580"/>
                <a:gd name="connsiteX20" fmla="*/ 50496 w 490352"/>
                <a:gd name="connsiteY20" fmla="*/ 253465 h 1394580"/>
                <a:gd name="connsiteX21" fmla="*/ 56794 w 490352"/>
                <a:gd name="connsiteY21" fmla="*/ 276858 h 1394580"/>
                <a:gd name="connsiteX22" fmla="*/ 42398 w 490352"/>
                <a:gd name="connsiteY22" fmla="*/ 291253 h 1394580"/>
                <a:gd name="connsiteX23" fmla="*/ 32501 w 490352"/>
                <a:gd name="connsiteY23" fmla="*/ 340288 h 1394580"/>
                <a:gd name="connsiteX24" fmla="*/ 35650 w 490352"/>
                <a:gd name="connsiteY24" fmla="*/ 377177 h 1394580"/>
                <a:gd name="connsiteX25" fmla="*/ 23504 w 490352"/>
                <a:gd name="connsiteY25" fmla="*/ 408668 h 1394580"/>
                <a:gd name="connsiteX26" fmla="*/ 22154 w 490352"/>
                <a:gd name="connsiteY26" fmla="*/ 432061 h 1394580"/>
                <a:gd name="connsiteX27" fmla="*/ 10908 w 490352"/>
                <a:gd name="connsiteY27" fmla="*/ 465801 h 1394580"/>
                <a:gd name="connsiteX28" fmla="*/ 32951 w 490352"/>
                <a:gd name="connsiteY28" fmla="*/ 513036 h 1394580"/>
                <a:gd name="connsiteX29" fmla="*/ 75238 w 490352"/>
                <a:gd name="connsiteY29" fmla="*/ 520684 h 1394580"/>
                <a:gd name="connsiteX30" fmla="*/ 82436 w 490352"/>
                <a:gd name="connsiteY30" fmla="*/ 530131 h 1394580"/>
                <a:gd name="connsiteX31" fmla="*/ 84685 w 490352"/>
                <a:gd name="connsiteY31" fmla="*/ 544977 h 1394580"/>
                <a:gd name="connsiteX32" fmla="*/ 83336 w 490352"/>
                <a:gd name="connsiteY32" fmla="*/ 556223 h 1394580"/>
                <a:gd name="connsiteX33" fmla="*/ 95033 w 490352"/>
                <a:gd name="connsiteY33" fmla="*/ 581416 h 1394580"/>
                <a:gd name="connsiteX34" fmla="*/ 92333 w 490352"/>
                <a:gd name="connsiteY34" fmla="*/ 589963 h 1394580"/>
                <a:gd name="connsiteX35" fmla="*/ 67141 w 490352"/>
                <a:gd name="connsiteY35" fmla="*/ 721774 h 1394580"/>
                <a:gd name="connsiteX36" fmla="*/ 72539 w 490352"/>
                <a:gd name="connsiteY36" fmla="*/ 722673 h 1394580"/>
                <a:gd name="connsiteX37" fmla="*/ 68041 w 490352"/>
                <a:gd name="connsiteY37" fmla="*/ 723123 h 1394580"/>
                <a:gd name="connsiteX38" fmla="*/ 72989 w 490352"/>
                <a:gd name="connsiteY38" fmla="*/ 723123 h 1394580"/>
                <a:gd name="connsiteX39" fmla="*/ 77488 w 490352"/>
                <a:gd name="connsiteY39" fmla="*/ 724023 h 1394580"/>
                <a:gd name="connsiteX40" fmla="*/ 75688 w 490352"/>
                <a:gd name="connsiteY40" fmla="*/ 796901 h 1394580"/>
                <a:gd name="connsiteX41" fmla="*/ 88734 w 490352"/>
                <a:gd name="connsiteY41" fmla="*/ 947605 h 1394580"/>
                <a:gd name="connsiteX42" fmla="*/ 101330 w 490352"/>
                <a:gd name="connsiteY42" fmla="*/ 1116755 h 1394580"/>
                <a:gd name="connsiteX43" fmla="*/ 128322 w 490352"/>
                <a:gd name="connsiteY43" fmla="*/ 1264310 h 1394580"/>
                <a:gd name="connsiteX44" fmla="*/ 129222 w 490352"/>
                <a:gd name="connsiteY44" fmla="*/ 1287253 h 1394580"/>
                <a:gd name="connsiteX45" fmla="*/ 133721 w 490352"/>
                <a:gd name="connsiteY45" fmla="*/ 1308397 h 1394580"/>
                <a:gd name="connsiteX46" fmla="*/ 124723 w 490352"/>
                <a:gd name="connsiteY46" fmla="*/ 1329990 h 1394580"/>
                <a:gd name="connsiteX47" fmla="*/ 115726 w 490352"/>
                <a:gd name="connsiteY47" fmla="*/ 1343037 h 1394580"/>
                <a:gd name="connsiteX48" fmla="*/ 86485 w 490352"/>
                <a:gd name="connsiteY48" fmla="*/ 1356982 h 1394580"/>
                <a:gd name="connsiteX49" fmla="*/ 49596 w 490352"/>
                <a:gd name="connsiteY49" fmla="*/ 1360581 h 1394580"/>
                <a:gd name="connsiteX50" fmla="*/ 37000 w 490352"/>
                <a:gd name="connsiteY50" fmla="*/ 1377676 h 1394580"/>
                <a:gd name="connsiteX51" fmla="*/ 32501 w 490352"/>
                <a:gd name="connsiteY51" fmla="*/ 1383075 h 1394580"/>
                <a:gd name="connsiteX52" fmla="*/ 153515 w 490352"/>
                <a:gd name="connsiteY52" fmla="*/ 1393871 h 1394580"/>
                <a:gd name="connsiteX53" fmla="*/ 207049 w 490352"/>
                <a:gd name="connsiteY53" fmla="*/ 1388923 h 1394580"/>
                <a:gd name="connsiteX54" fmla="*/ 207948 w 490352"/>
                <a:gd name="connsiteY54" fmla="*/ 1394771 h 1394580"/>
                <a:gd name="connsiteX55" fmla="*/ 256084 w 490352"/>
                <a:gd name="connsiteY55" fmla="*/ 1389373 h 1394580"/>
                <a:gd name="connsiteX56" fmla="*/ 256084 w 490352"/>
                <a:gd name="connsiteY56" fmla="*/ 1376776 h 1394580"/>
                <a:gd name="connsiteX57" fmla="*/ 248886 w 490352"/>
                <a:gd name="connsiteY57" fmla="*/ 1319194 h 1394580"/>
                <a:gd name="connsiteX58" fmla="*/ 246187 w 490352"/>
                <a:gd name="connsiteY58" fmla="*/ 1298500 h 1394580"/>
                <a:gd name="connsiteX59" fmla="*/ 244837 w 490352"/>
                <a:gd name="connsiteY59" fmla="*/ 1257112 h 1394580"/>
                <a:gd name="connsiteX60" fmla="*/ 244387 w 490352"/>
                <a:gd name="connsiteY60" fmla="*/ 1253963 h 1394580"/>
                <a:gd name="connsiteX61" fmla="*/ 244387 w 490352"/>
                <a:gd name="connsiteY61" fmla="*/ 1245866 h 1394580"/>
                <a:gd name="connsiteX62" fmla="*/ 239439 w 490352"/>
                <a:gd name="connsiteY62" fmla="*/ 1120354 h 1394580"/>
                <a:gd name="connsiteX63" fmla="*/ 239439 w 490352"/>
                <a:gd name="connsiteY63" fmla="*/ 1118554 h 1394580"/>
                <a:gd name="connsiteX64" fmla="*/ 238539 w 490352"/>
                <a:gd name="connsiteY64" fmla="*/ 1099210 h 1394580"/>
                <a:gd name="connsiteX65" fmla="*/ 235840 w 490352"/>
                <a:gd name="connsiteY65" fmla="*/ 1075817 h 1394580"/>
                <a:gd name="connsiteX66" fmla="*/ 234940 w 490352"/>
                <a:gd name="connsiteY66" fmla="*/ 1065020 h 1394580"/>
                <a:gd name="connsiteX67" fmla="*/ 230891 w 490352"/>
                <a:gd name="connsiteY67" fmla="*/ 1049275 h 1394580"/>
                <a:gd name="connsiteX68" fmla="*/ 230442 w 490352"/>
                <a:gd name="connsiteY68" fmla="*/ 1042977 h 1394580"/>
                <a:gd name="connsiteX69" fmla="*/ 229092 w 490352"/>
                <a:gd name="connsiteY69" fmla="*/ 1019134 h 1394580"/>
                <a:gd name="connsiteX70" fmla="*/ 232241 w 490352"/>
                <a:gd name="connsiteY70" fmla="*/ 1004289 h 1394580"/>
                <a:gd name="connsiteX71" fmla="*/ 237639 w 490352"/>
                <a:gd name="connsiteY71" fmla="*/ 930961 h 1394580"/>
                <a:gd name="connsiteX72" fmla="*/ 230891 w 490352"/>
                <a:gd name="connsiteY72" fmla="*/ 908017 h 1394580"/>
                <a:gd name="connsiteX73" fmla="*/ 229542 w 490352"/>
                <a:gd name="connsiteY73" fmla="*/ 896321 h 1394580"/>
                <a:gd name="connsiteX74" fmla="*/ 229092 w 490352"/>
                <a:gd name="connsiteY74" fmla="*/ 890473 h 1394580"/>
                <a:gd name="connsiteX75" fmla="*/ 229992 w 490352"/>
                <a:gd name="connsiteY75" fmla="*/ 872028 h 1394580"/>
                <a:gd name="connsiteX76" fmla="*/ 227743 w 490352"/>
                <a:gd name="connsiteY76" fmla="*/ 863031 h 1394580"/>
                <a:gd name="connsiteX77" fmla="*/ 227743 w 490352"/>
                <a:gd name="connsiteY77" fmla="*/ 858982 h 1394580"/>
                <a:gd name="connsiteX78" fmla="*/ 232691 w 490352"/>
                <a:gd name="connsiteY78" fmla="*/ 875177 h 1394580"/>
                <a:gd name="connsiteX79" fmla="*/ 246637 w 490352"/>
                <a:gd name="connsiteY79" fmla="*/ 910717 h 1394580"/>
                <a:gd name="connsiteX80" fmla="*/ 269580 w 490352"/>
                <a:gd name="connsiteY80" fmla="*/ 1003839 h 1394580"/>
                <a:gd name="connsiteX81" fmla="*/ 294772 w 490352"/>
                <a:gd name="connsiteY81" fmla="*/ 1084364 h 1394580"/>
                <a:gd name="connsiteX82" fmla="*/ 328062 w 490352"/>
                <a:gd name="connsiteY82" fmla="*/ 1185134 h 1394580"/>
                <a:gd name="connsiteX83" fmla="*/ 338409 w 490352"/>
                <a:gd name="connsiteY83" fmla="*/ 1253064 h 1394580"/>
                <a:gd name="connsiteX84" fmla="*/ 353705 w 490352"/>
                <a:gd name="connsiteY84" fmla="*/ 1319644 h 1394580"/>
                <a:gd name="connsiteX85" fmla="*/ 369000 w 490352"/>
                <a:gd name="connsiteY85" fmla="*/ 1344836 h 1394580"/>
                <a:gd name="connsiteX86" fmla="*/ 356404 w 490352"/>
                <a:gd name="connsiteY86" fmla="*/ 1359682 h 1394580"/>
                <a:gd name="connsiteX87" fmla="*/ 349206 w 490352"/>
                <a:gd name="connsiteY87" fmla="*/ 1375877 h 1394580"/>
                <a:gd name="connsiteX88" fmla="*/ 346507 w 490352"/>
                <a:gd name="connsiteY88" fmla="*/ 1387123 h 1394580"/>
                <a:gd name="connsiteX89" fmla="*/ 431531 w 490352"/>
                <a:gd name="connsiteY89" fmla="*/ 1394321 h 1394580"/>
                <a:gd name="connsiteX90" fmla="*/ 461222 w 490352"/>
                <a:gd name="connsiteY90" fmla="*/ 1391622 h 1394580"/>
                <a:gd name="connsiteX91" fmla="*/ 466621 w 490352"/>
                <a:gd name="connsiteY91" fmla="*/ 1390722 h 1394580"/>
                <a:gd name="connsiteX92" fmla="*/ 476968 w 490352"/>
                <a:gd name="connsiteY92" fmla="*/ 1385774 h 1394580"/>
                <a:gd name="connsiteX93" fmla="*/ 474718 w 490352"/>
                <a:gd name="connsiteY93" fmla="*/ 1361031 h 1394580"/>
                <a:gd name="connsiteX94" fmla="*/ 475168 w 490352"/>
                <a:gd name="connsiteY94" fmla="*/ 1357882 h 1394580"/>
                <a:gd name="connsiteX95" fmla="*/ 485965 w 490352"/>
                <a:gd name="connsiteY95" fmla="*/ 1338988 h 1394580"/>
                <a:gd name="connsiteX96" fmla="*/ 475168 w 490352"/>
                <a:gd name="connsiteY96" fmla="*/ 1309297 h 1394580"/>
                <a:gd name="connsiteX97" fmla="*/ 470669 w 490352"/>
                <a:gd name="connsiteY97" fmla="*/ 1285004 h 1394580"/>
                <a:gd name="connsiteX98" fmla="*/ 466171 w 490352"/>
                <a:gd name="connsiteY98" fmla="*/ 1252614 h 1394580"/>
                <a:gd name="connsiteX99" fmla="*/ 461222 w 490352"/>
                <a:gd name="connsiteY99" fmla="*/ 1221123 h 1394580"/>
                <a:gd name="connsiteX100" fmla="*/ 461672 w 490352"/>
                <a:gd name="connsiteY100" fmla="*/ 1174787 h 1394580"/>
                <a:gd name="connsiteX101" fmla="*/ 458973 w 490352"/>
                <a:gd name="connsiteY101" fmla="*/ 1123503 h 1394580"/>
                <a:gd name="connsiteX102" fmla="*/ 447726 w 490352"/>
                <a:gd name="connsiteY102" fmla="*/ 1071318 h 1394580"/>
                <a:gd name="connsiteX103" fmla="*/ 433330 w 490352"/>
                <a:gd name="connsiteY103" fmla="*/ 1017784 h 1394580"/>
                <a:gd name="connsiteX104" fmla="*/ 397791 w 490352"/>
                <a:gd name="connsiteY104" fmla="*/ 937259 h 1394580"/>
                <a:gd name="connsiteX105" fmla="*/ 393743 w 490352"/>
                <a:gd name="connsiteY105" fmla="*/ 920164 h 1394580"/>
                <a:gd name="connsiteX106" fmla="*/ 385645 w 490352"/>
                <a:gd name="connsiteY106" fmla="*/ 844587 h 1394580"/>
                <a:gd name="connsiteX107" fmla="*/ 384295 w 490352"/>
                <a:gd name="connsiteY107" fmla="*/ 836489 h 1394580"/>
                <a:gd name="connsiteX108" fmla="*/ 381146 w 490352"/>
                <a:gd name="connsiteY108" fmla="*/ 797801 h 1394580"/>
                <a:gd name="connsiteX109" fmla="*/ 381146 w 490352"/>
                <a:gd name="connsiteY109" fmla="*/ 796901 h 1394580"/>
                <a:gd name="connsiteX110" fmla="*/ 381146 w 490352"/>
                <a:gd name="connsiteY110" fmla="*/ 796001 h 1394580"/>
                <a:gd name="connsiteX111" fmla="*/ 375298 w 490352"/>
                <a:gd name="connsiteY111" fmla="*/ 751015 h 1394580"/>
                <a:gd name="connsiteX112" fmla="*/ 372149 w 490352"/>
                <a:gd name="connsiteY112" fmla="*/ 730321 h 1394580"/>
                <a:gd name="connsiteX113" fmla="*/ 369450 w 490352"/>
                <a:gd name="connsiteY113" fmla="*/ 715925 h 1394580"/>
                <a:gd name="connsiteX114" fmla="*/ 366751 w 490352"/>
                <a:gd name="connsiteY114" fmla="*/ 695681 h 1394580"/>
                <a:gd name="connsiteX115" fmla="*/ 391043 w 490352"/>
                <a:gd name="connsiteY115" fmla="*/ 688484 h 1394580"/>
                <a:gd name="connsiteX116" fmla="*/ 412187 w 490352"/>
                <a:gd name="connsiteY116" fmla="*/ 672289 h 1394580"/>
                <a:gd name="connsiteX117" fmla="*/ 430631 w 490352"/>
                <a:gd name="connsiteY117" fmla="*/ 652494 h 1394580"/>
                <a:gd name="connsiteX118" fmla="*/ 393743 w 490352"/>
                <a:gd name="connsiteY118" fmla="*/ 544527 h 1394580"/>
                <a:gd name="connsiteX119" fmla="*/ 367201 w 490352"/>
                <a:gd name="connsiteY119" fmla="*/ 476597 h 1394580"/>
                <a:gd name="connsiteX120" fmla="*/ 360003 w 490352"/>
                <a:gd name="connsiteY120" fmla="*/ 446006 h 1394580"/>
                <a:gd name="connsiteX121" fmla="*/ 362702 w 490352"/>
                <a:gd name="connsiteY121" fmla="*/ 380326 h 1394580"/>
                <a:gd name="connsiteX122" fmla="*/ 365401 w 490352"/>
                <a:gd name="connsiteY122" fmla="*/ 332191 h 1394580"/>
                <a:gd name="connsiteX123" fmla="*/ 365851 w 490352"/>
                <a:gd name="connsiteY123" fmla="*/ 286305 h 1394580"/>
                <a:gd name="connsiteX124" fmla="*/ 359553 w 490352"/>
                <a:gd name="connsiteY124" fmla="*/ 236370 h 1394580"/>
                <a:gd name="connsiteX125" fmla="*/ 330311 w 490352"/>
                <a:gd name="connsiteY125" fmla="*/ 176088 h 1394580"/>
                <a:gd name="connsiteX126" fmla="*/ 264181 w 490352"/>
                <a:gd name="connsiteY126" fmla="*/ 165291 h 1394580"/>
                <a:gd name="connsiteX127" fmla="*/ 230442 w 490352"/>
                <a:gd name="connsiteY127" fmla="*/ 164391 h 1394580"/>
                <a:gd name="connsiteX128" fmla="*/ 208398 w 490352"/>
                <a:gd name="connsiteY128" fmla="*/ 151345 h 1394580"/>
                <a:gd name="connsiteX129" fmla="*/ 205249 w 490352"/>
                <a:gd name="connsiteY129" fmla="*/ 141898 h 1394580"/>
                <a:gd name="connsiteX130" fmla="*/ 203900 w 490352"/>
                <a:gd name="connsiteY130" fmla="*/ 108608 h 1394580"/>
                <a:gd name="connsiteX131" fmla="*/ 199851 w 490352"/>
                <a:gd name="connsiteY131" fmla="*/ 90164 h 1394580"/>
                <a:gd name="connsiteX132" fmla="*/ 201650 w 490352"/>
                <a:gd name="connsiteY132" fmla="*/ 82516 h 1394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</a:cxnLst>
              <a:rect l="l" t="t" r="r" b="b"/>
              <a:pathLst>
                <a:path w="490352" h="1394580">
                  <a:moveTo>
                    <a:pt x="201650" y="82516"/>
                  </a:moveTo>
                  <a:cubicBezTo>
                    <a:pt x="201200" y="79817"/>
                    <a:pt x="198951" y="75318"/>
                    <a:pt x="198951" y="69470"/>
                  </a:cubicBezTo>
                  <a:cubicBezTo>
                    <a:pt x="198501" y="63622"/>
                    <a:pt x="192203" y="53275"/>
                    <a:pt x="185005" y="42028"/>
                  </a:cubicBezTo>
                  <a:cubicBezTo>
                    <a:pt x="177807" y="30782"/>
                    <a:pt x="167461" y="24034"/>
                    <a:pt x="159813" y="19085"/>
                  </a:cubicBezTo>
                  <a:cubicBezTo>
                    <a:pt x="152615" y="14137"/>
                    <a:pt x="141369" y="13687"/>
                    <a:pt x="138669" y="13687"/>
                  </a:cubicBezTo>
                  <a:cubicBezTo>
                    <a:pt x="135970" y="13687"/>
                    <a:pt x="134171" y="10088"/>
                    <a:pt x="126973" y="6489"/>
                  </a:cubicBezTo>
                  <a:cubicBezTo>
                    <a:pt x="119775" y="2890"/>
                    <a:pt x="97282" y="1990"/>
                    <a:pt x="81986" y="6039"/>
                  </a:cubicBezTo>
                  <a:cubicBezTo>
                    <a:pt x="66691" y="10088"/>
                    <a:pt x="42848" y="24484"/>
                    <a:pt x="33851" y="33031"/>
                  </a:cubicBezTo>
                  <a:cubicBezTo>
                    <a:pt x="24853" y="41578"/>
                    <a:pt x="13157" y="55074"/>
                    <a:pt x="8658" y="73519"/>
                  </a:cubicBezTo>
                  <a:cubicBezTo>
                    <a:pt x="4610" y="91963"/>
                    <a:pt x="-1688" y="105909"/>
                    <a:pt x="10458" y="127053"/>
                  </a:cubicBezTo>
                  <a:cubicBezTo>
                    <a:pt x="22154" y="147746"/>
                    <a:pt x="20355" y="133351"/>
                    <a:pt x="20355" y="133351"/>
                  </a:cubicBezTo>
                  <a:cubicBezTo>
                    <a:pt x="22604" y="136500"/>
                    <a:pt x="25304" y="138749"/>
                    <a:pt x="29352" y="140998"/>
                  </a:cubicBezTo>
                  <a:cubicBezTo>
                    <a:pt x="33401" y="143248"/>
                    <a:pt x="39699" y="145947"/>
                    <a:pt x="39249" y="149546"/>
                  </a:cubicBezTo>
                  <a:cubicBezTo>
                    <a:pt x="38799" y="152695"/>
                    <a:pt x="38799" y="164391"/>
                    <a:pt x="36100" y="176088"/>
                  </a:cubicBezTo>
                  <a:cubicBezTo>
                    <a:pt x="33401" y="187784"/>
                    <a:pt x="46897" y="185085"/>
                    <a:pt x="46897" y="185085"/>
                  </a:cubicBezTo>
                  <a:cubicBezTo>
                    <a:pt x="46897" y="185085"/>
                    <a:pt x="48696" y="191383"/>
                    <a:pt x="49146" y="195882"/>
                  </a:cubicBezTo>
                  <a:cubicBezTo>
                    <a:pt x="49596" y="201280"/>
                    <a:pt x="54545" y="199931"/>
                    <a:pt x="54545" y="199931"/>
                  </a:cubicBezTo>
                  <a:cubicBezTo>
                    <a:pt x="54095" y="203979"/>
                    <a:pt x="52745" y="203080"/>
                    <a:pt x="56344" y="206229"/>
                  </a:cubicBezTo>
                  <a:cubicBezTo>
                    <a:pt x="54095" y="207129"/>
                    <a:pt x="50046" y="210278"/>
                    <a:pt x="54545" y="224223"/>
                  </a:cubicBezTo>
                  <a:cubicBezTo>
                    <a:pt x="57244" y="233221"/>
                    <a:pt x="54994" y="235470"/>
                    <a:pt x="51845" y="238169"/>
                  </a:cubicBezTo>
                  <a:cubicBezTo>
                    <a:pt x="48696" y="240868"/>
                    <a:pt x="46897" y="240868"/>
                    <a:pt x="50496" y="253465"/>
                  </a:cubicBezTo>
                  <a:cubicBezTo>
                    <a:pt x="53645" y="263811"/>
                    <a:pt x="56794" y="268310"/>
                    <a:pt x="56794" y="276858"/>
                  </a:cubicBezTo>
                  <a:cubicBezTo>
                    <a:pt x="54095" y="279557"/>
                    <a:pt x="48696" y="284505"/>
                    <a:pt x="42398" y="291253"/>
                  </a:cubicBezTo>
                  <a:cubicBezTo>
                    <a:pt x="24853" y="297101"/>
                    <a:pt x="31152" y="332191"/>
                    <a:pt x="32501" y="340288"/>
                  </a:cubicBezTo>
                  <a:cubicBezTo>
                    <a:pt x="33851" y="347936"/>
                    <a:pt x="36550" y="371329"/>
                    <a:pt x="35650" y="377177"/>
                  </a:cubicBezTo>
                  <a:cubicBezTo>
                    <a:pt x="34751" y="383025"/>
                    <a:pt x="26653" y="403269"/>
                    <a:pt x="23504" y="408668"/>
                  </a:cubicBezTo>
                  <a:cubicBezTo>
                    <a:pt x="20355" y="413616"/>
                    <a:pt x="21255" y="424863"/>
                    <a:pt x="22154" y="432061"/>
                  </a:cubicBezTo>
                  <a:cubicBezTo>
                    <a:pt x="23054" y="439259"/>
                    <a:pt x="14956" y="446006"/>
                    <a:pt x="10908" y="465801"/>
                  </a:cubicBezTo>
                  <a:cubicBezTo>
                    <a:pt x="6859" y="485595"/>
                    <a:pt x="17656" y="506288"/>
                    <a:pt x="32951" y="513036"/>
                  </a:cubicBezTo>
                  <a:cubicBezTo>
                    <a:pt x="47797" y="519784"/>
                    <a:pt x="70740" y="520234"/>
                    <a:pt x="75238" y="520684"/>
                  </a:cubicBezTo>
                  <a:cubicBezTo>
                    <a:pt x="79737" y="521134"/>
                    <a:pt x="82886" y="526083"/>
                    <a:pt x="82436" y="530131"/>
                  </a:cubicBezTo>
                  <a:cubicBezTo>
                    <a:pt x="80187" y="537779"/>
                    <a:pt x="85135" y="540478"/>
                    <a:pt x="84685" y="544977"/>
                  </a:cubicBezTo>
                  <a:cubicBezTo>
                    <a:pt x="84236" y="549475"/>
                    <a:pt x="82436" y="551725"/>
                    <a:pt x="83336" y="556223"/>
                  </a:cubicBezTo>
                  <a:cubicBezTo>
                    <a:pt x="78837" y="564771"/>
                    <a:pt x="91883" y="573768"/>
                    <a:pt x="95033" y="581416"/>
                  </a:cubicBezTo>
                  <a:cubicBezTo>
                    <a:pt x="88734" y="586814"/>
                    <a:pt x="92333" y="589963"/>
                    <a:pt x="92333" y="589963"/>
                  </a:cubicBezTo>
                  <a:cubicBezTo>
                    <a:pt x="81087" y="617405"/>
                    <a:pt x="67141" y="721774"/>
                    <a:pt x="67141" y="721774"/>
                  </a:cubicBezTo>
                  <a:lnTo>
                    <a:pt x="72539" y="722673"/>
                  </a:lnTo>
                  <a:cubicBezTo>
                    <a:pt x="70740" y="722673"/>
                    <a:pt x="68940" y="723123"/>
                    <a:pt x="68041" y="723123"/>
                  </a:cubicBezTo>
                  <a:cubicBezTo>
                    <a:pt x="69390" y="723123"/>
                    <a:pt x="71189" y="723123"/>
                    <a:pt x="72989" y="723123"/>
                  </a:cubicBezTo>
                  <a:lnTo>
                    <a:pt x="77488" y="724023"/>
                  </a:lnTo>
                  <a:cubicBezTo>
                    <a:pt x="77937" y="730321"/>
                    <a:pt x="75238" y="769909"/>
                    <a:pt x="75688" y="796901"/>
                  </a:cubicBezTo>
                  <a:cubicBezTo>
                    <a:pt x="76138" y="823893"/>
                    <a:pt x="86485" y="903969"/>
                    <a:pt x="88734" y="947605"/>
                  </a:cubicBezTo>
                  <a:cubicBezTo>
                    <a:pt x="90984" y="991242"/>
                    <a:pt x="97282" y="1081215"/>
                    <a:pt x="101330" y="1116755"/>
                  </a:cubicBezTo>
                  <a:cubicBezTo>
                    <a:pt x="105379" y="1152294"/>
                    <a:pt x="123374" y="1258912"/>
                    <a:pt x="128322" y="1264310"/>
                  </a:cubicBezTo>
                  <a:cubicBezTo>
                    <a:pt x="132821" y="1269709"/>
                    <a:pt x="131471" y="1278256"/>
                    <a:pt x="129222" y="1287253"/>
                  </a:cubicBezTo>
                  <a:cubicBezTo>
                    <a:pt x="127423" y="1296250"/>
                    <a:pt x="131022" y="1303898"/>
                    <a:pt x="133721" y="1308397"/>
                  </a:cubicBezTo>
                  <a:cubicBezTo>
                    <a:pt x="136420" y="1312896"/>
                    <a:pt x="126973" y="1325042"/>
                    <a:pt x="124723" y="1329990"/>
                  </a:cubicBezTo>
                  <a:cubicBezTo>
                    <a:pt x="122024" y="1334939"/>
                    <a:pt x="119325" y="1338988"/>
                    <a:pt x="115726" y="1343037"/>
                  </a:cubicBezTo>
                  <a:cubicBezTo>
                    <a:pt x="112127" y="1346635"/>
                    <a:pt x="94133" y="1355183"/>
                    <a:pt x="86485" y="1356982"/>
                  </a:cubicBezTo>
                  <a:cubicBezTo>
                    <a:pt x="78837" y="1358782"/>
                    <a:pt x="59043" y="1360131"/>
                    <a:pt x="49596" y="1360581"/>
                  </a:cubicBezTo>
                  <a:cubicBezTo>
                    <a:pt x="40149" y="1361031"/>
                    <a:pt x="37000" y="1377676"/>
                    <a:pt x="37000" y="1377676"/>
                  </a:cubicBezTo>
                  <a:cubicBezTo>
                    <a:pt x="26653" y="1379026"/>
                    <a:pt x="32501" y="1383075"/>
                    <a:pt x="32501" y="1383075"/>
                  </a:cubicBezTo>
                  <a:cubicBezTo>
                    <a:pt x="44198" y="1397020"/>
                    <a:pt x="135520" y="1396120"/>
                    <a:pt x="153515" y="1393871"/>
                  </a:cubicBezTo>
                  <a:cubicBezTo>
                    <a:pt x="171509" y="1392072"/>
                    <a:pt x="207049" y="1388923"/>
                    <a:pt x="207049" y="1388923"/>
                  </a:cubicBezTo>
                  <a:lnTo>
                    <a:pt x="207948" y="1394771"/>
                  </a:lnTo>
                  <a:lnTo>
                    <a:pt x="256084" y="1389373"/>
                  </a:lnTo>
                  <a:cubicBezTo>
                    <a:pt x="256084" y="1384874"/>
                    <a:pt x="256084" y="1380375"/>
                    <a:pt x="256084" y="1376776"/>
                  </a:cubicBezTo>
                  <a:cubicBezTo>
                    <a:pt x="259683" y="1358782"/>
                    <a:pt x="251135" y="1328641"/>
                    <a:pt x="248886" y="1319194"/>
                  </a:cubicBezTo>
                  <a:cubicBezTo>
                    <a:pt x="247986" y="1315145"/>
                    <a:pt x="247086" y="1307947"/>
                    <a:pt x="246187" y="1298500"/>
                  </a:cubicBezTo>
                  <a:cubicBezTo>
                    <a:pt x="246187" y="1287703"/>
                    <a:pt x="246187" y="1273308"/>
                    <a:pt x="244837" y="1257112"/>
                  </a:cubicBezTo>
                  <a:cubicBezTo>
                    <a:pt x="244837" y="1256213"/>
                    <a:pt x="244837" y="1254863"/>
                    <a:pt x="244387" y="1253963"/>
                  </a:cubicBezTo>
                  <a:cubicBezTo>
                    <a:pt x="244387" y="1251264"/>
                    <a:pt x="244387" y="1248565"/>
                    <a:pt x="244387" y="1245866"/>
                  </a:cubicBezTo>
                  <a:cubicBezTo>
                    <a:pt x="244387" y="1222923"/>
                    <a:pt x="241239" y="1157692"/>
                    <a:pt x="239439" y="1120354"/>
                  </a:cubicBezTo>
                  <a:cubicBezTo>
                    <a:pt x="239439" y="1119904"/>
                    <a:pt x="239439" y="1119004"/>
                    <a:pt x="239439" y="1118554"/>
                  </a:cubicBezTo>
                  <a:cubicBezTo>
                    <a:pt x="239439" y="1111356"/>
                    <a:pt x="238989" y="1105058"/>
                    <a:pt x="238539" y="1099210"/>
                  </a:cubicBezTo>
                  <a:cubicBezTo>
                    <a:pt x="238089" y="1090663"/>
                    <a:pt x="237190" y="1082565"/>
                    <a:pt x="235840" y="1075817"/>
                  </a:cubicBezTo>
                  <a:cubicBezTo>
                    <a:pt x="235390" y="1072218"/>
                    <a:pt x="234940" y="1068619"/>
                    <a:pt x="234940" y="1065020"/>
                  </a:cubicBezTo>
                  <a:cubicBezTo>
                    <a:pt x="234940" y="1057373"/>
                    <a:pt x="232691" y="1053324"/>
                    <a:pt x="230891" y="1049275"/>
                  </a:cubicBezTo>
                  <a:cubicBezTo>
                    <a:pt x="230442" y="1047026"/>
                    <a:pt x="230442" y="1045226"/>
                    <a:pt x="230442" y="1042977"/>
                  </a:cubicBezTo>
                  <a:cubicBezTo>
                    <a:pt x="229992" y="1034879"/>
                    <a:pt x="228642" y="1027682"/>
                    <a:pt x="229092" y="1019134"/>
                  </a:cubicBezTo>
                  <a:cubicBezTo>
                    <a:pt x="229992" y="1014186"/>
                    <a:pt x="231341" y="1009687"/>
                    <a:pt x="232241" y="1004289"/>
                  </a:cubicBezTo>
                  <a:cubicBezTo>
                    <a:pt x="237639" y="988093"/>
                    <a:pt x="237639" y="954803"/>
                    <a:pt x="237639" y="930961"/>
                  </a:cubicBezTo>
                  <a:cubicBezTo>
                    <a:pt x="237639" y="910717"/>
                    <a:pt x="234041" y="912066"/>
                    <a:pt x="230891" y="908017"/>
                  </a:cubicBezTo>
                  <a:cubicBezTo>
                    <a:pt x="230442" y="903069"/>
                    <a:pt x="229992" y="899020"/>
                    <a:pt x="229542" y="896321"/>
                  </a:cubicBezTo>
                  <a:cubicBezTo>
                    <a:pt x="229092" y="894521"/>
                    <a:pt x="229092" y="892722"/>
                    <a:pt x="229092" y="890473"/>
                  </a:cubicBezTo>
                  <a:cubicBezTo>
                    <a:pt x="229542" y="884624"/>
                    <a:pt x="230442" y="877876"/>
                    <a:pt x="229992" y="872028"/>
                  </a:cubicBezTo>
                  <a:cubicBezTo>
                    <a:pt x="229542" y="869779"/>
                    <a:pt x="229092" y="866630"/>
                    <a:pt x="227743" y="863031"/>
                  </a:cubicBezTo>
                  <a:cubicBezTo>
                    <a:pt x="227743" y="860332"/>
                    <a:pt x="227743" y="858982"/>
                    <a:pt x="227743" y="858982"/>
                  </a:cubicBezTo>
                  <a:cubicBezTo>
                    <a:pt x="227743" y="858982"/>
                    <a:pt x="230442" y="868879"/>
                    <a:pt x="232691" y="875177"/>
                  </a:cubicBezTo>
                  <a:cubicBezTo>
                    <a:pt x="234940" y="881476"/>
                    <a:pt x="244387" y="901719"/>
                    <a:pt x="246637" y="910717"/>
                  </a:cubicBezTo>
                  <a:cubicBezTo>
                    <a:pt x="249336" y="919714"/>
                    <a:pt x="262832" y="975497"/>
                    <a:pt x="269580" y="1003839"/>
                  </a:cubicBezTo>
                  <a:cubicBezTo>
                    <a:pt x="276328" y="1032180"/>
                    <a:pt x="288025" y="1067270"/>
                    <a:pt x="294772" y="1084364"/>
                  </a:cubicBezTo>
                  <a:cubicBezTo>
                    <a:pt x="301520" y="1101909"/>
                    <a:pt x="323563" y="1159942"/>
                    <a:pt x="328062" y="1185134"/>
                  </a:cubicBezTo>
                  <a:cubicBezTo>
                    <a:pt x="332561" y="1210326"/>
                    <a:pt x="336610" y="1243617"/>
                    <a:pt x="338409" y="1253064"/>
                  </a:cubicBezTo>
                  <a:cubicBezTo>
                    <a:pt x="340209" y="1262511"/>
                    <a:pt x="349206" y="1303898"/>
                    <a:pt x="353705" y="1319644"/>
                  </a:cubicBezTo>
                  <a:cubicBezTo>
                    <a:pt x="357754" y="1335389"/>
                    <a:pt x="368100" y="1341687"/>
                    <a:pt x="369000" y="1344836"/>
                  </a:cubicBezTo>
                  <a:cubicBezTo>
                    <a:pt x="369900" y="1347985"/>
                    <a:pt x="364051" y="1353383"/>
                    <a:pt x="356404" y="1359682"/>
                  </a:cubicBezTo>
                  <a:cubicBezTo>
                    <a:pt x="348756" y="1365979"/>
                    <a:pt x="350555" y="1369129"/>
                    <a:pt x="349206" y="1375877"/>
                  </a:cubicBezTo>
                  <a:cubicBezTo>
                    <a:pt x="347856" y="1378576"/>
                    <a:pt x="339759" y="1379925"/>
                    <a:pt x="346507" y="1387123"/>
                  </a:cubicBezTo>
                  <a:cubicBezTo>
                    <a:pt x="353255" y="1394321"/>
                    <a:pt x="418035" y="1395221"/>
                    <a:pt x="431531" y="1394321"/>
                  </a:cubicBezTo>
                  <a:cubicBezTo>
                    <a:pt x="444577" y="1393421"/>
                    <a:pt x="458973" y="1395221"/>
                    <a:pt x="461222" y="1391622"/>
                  </a:cubicBezTo>
                  <a:cubicBezTo>
                    <a:pt x="463472" y="1387573"/>
                    <a:pt x="466621" y="1390722"/>
                    <a:pt x="466621" y="1390722"/>
                  </a:cubicBezTo>
                  <a:cubicBezTo>
                    <a:pt x="471569" y="1388473"/>
                    <a:pt x="476968" y="1385774"/>
                    <a:pt x="476968" y="1385774"/>
                  </a:cubicBezTo>
                  <a:cubicBezTo>
                    <a:pt x="476517" y="1372278"/>
                    <a:pt x="475168" y="1366879"/>
                    <a:pt x="474718" y="1361031"/>
                  </a:cubicBezTo>
                  <a:cubicBezTo>
                    <a:pt x="474718" y="1359682"/>
                    <a:pt x="474718" y="1358782"/>
                    <a:pt x="475168" y="1357882"/>
                  </a:cubicBezTo>
                  <a:cubicBezTo>
                    <a:pt x="478317" y="1353833"/>
                    <a:pt x="481916" y="1347985"/>
                    <a:pt x="485965" y="1338988"/>
                  </a:cubicBezTo>
                  <a:cubicBezTo>
                    <a:pt x="490913" y="1326391"/>
                    <a:pt x="479217" y="1318294"/>
                    <a:pt x="475168" y="1309297"/>
                  </a:cubicBezTo>
                  <a:cubicBezTo>
                    <a:pt x="471119" y="1300299"/>
                    <a:pt x="471119" y="1297600"/>
                    <a:pt x="470669" y="1285004"/>
                  </a:cubicBezTo>
                  <a:cubicBezTo>
                    <a:pt x="469769" y="1271958"/>
                    <a:pt x="466171" y="1264310"/>
                    <a:pt x="466171" y="1252614"/>
                  </a:cubicBezTo>
                  <a:cubicBezTo>
                    <a:pt x="465721" y="1240467"/>
                    <a:pt x="461672" y="1235519"/>
                    <a:pt x="461222" y="1221123"/>
                  </a:cubicBezTo>
                  <a:cubicBezTo>
                    <a:pt x="460772" y="1206728"/>
                    <a:pt x="459423" y="1199080"/>
                    <a:pt x="461672" y="1174787"/>
                  </a:cubicBezTo>
                  <a:cubicBezTo>
                    <a:pt x="463921" y="1150495"/>
                    <a:pt x="461672" y="1145996"/>
                    <a:pt x="458973" y="1123503"/>
                  </a:cubicBezTo>
                  <a:cubicBezTo>
                    <a:pt x="457623" y="1111356"/>
                    <a:pt x="453125" y="1091562"/>
                    <a:pt x="447726" y="1071318"/>
                  </a:cubicBezTo>
                  <a:cubicBezTo>
                    <a:pt x="442777" y="1051074"/>
                    <a:pt x="436930" y="1031280"/>
                    <a:pt x="433330" y="1017784"/>
                  </a:cubicBezTo>
                  <a:cubicBezTo>
                    <a:pt x="424783" y="986744"/>
                    <a:pt x="402290" y="951205"/>
                    <a:pt x="397791" y="937259"/>
                  </a:cubicBezTo>
                  <a:cubicBezTo>
                    <a:pt x="396442" y="933210"/>
                    <a:pt x="395092" y="926912"/>
                    <a:pt x="393743" y="920164"/>
                  </a:cubicBezTo>
                  <a:cubicBezTo>
                    <a:pt x="391043" y="898570"/>
                    <a:pt x="386995" y="857183"/>
                    <a:pt x="385645" y="844587"/>
                  </a:cubicBezTo>
                  <a:cubicBezTo>
                    <a:pt x="385195" y="841887"/>
                    <a:pt x="384745" y="839188"/>
                    <a:pt x="384295" y="836489"/>
                  </a:cubicBezTo>
                  <a:cubicBezTo>
                    <a:pt x="382946" y="820294"/>
                    <a:pt x="382046" y="804549"/>
                    <a:pt x="381146" y="797801"/>
                  </a:cubicBezTo>
                  <a:cubicBezTo>
                    <a:pt x="381146" y="797351"/>
                    <a:pt x="381146" y="797351"/>
                    <a:pt x="381146" y="796901"/>
                  </a:cubicBezTo>
                  <a:cubicBezTo>
                    <a:pt x="381146" y="796451"/>
                    <a:pt x="381146" y="796451"/>
                    <a:pt x="381146" y="796001"/>
                  </a:cubicBezTo>
                  <a:cubicBezTo>
                    <a:pt x="384295" y="775307"/>
                    <a:pt x="375748" y="760012"/>
                    <a:pt x="375298" y="751015"/>
                  </a:cubicBezTo>
                  <a:cubicBezTo>
                    <a:pt x="374848" y="743817"/>
                    <a:pt x="373949" y="737519"/>
                    <a:pt x="372149" y="730321"/>
                  </a:cubicBezTo>
                  <a:cubicBezTo>
                    <a:pt x="371249" y="725373"/>
                    <a:pt x="370349" y="720424"/>
                    <a:pt x="369450" y="715925"/>
                  </a:cubicBezTo>
                  <a:cubicBezTo>
                    <a:pt x="366751" y="704229"/>
                    <a:pt x="366751" y="695681"/>
                    <a:pt x="366751" y="695681"/>
                  </a:cubicBezTo>
                  <a:cubicBezTo>
                    <a:pt x="366751" y="695681"/>
                    <a:pt x="381146" y="692532"/>
                    <a:pt x="391043" y="688484"/>
                  </a:cubicBezTo>
                  <a:cubicBezTo>
                    <a:pt x="400491" y="684435"/>
                    <a:pt x="404089" y="679037"/>
                    <a:pt x="412187" y="672289"/>
                  </a:cubicBezTo>
                  <a:cubicBezTo>
                    <a:pt x="420284" y="665990"/>
                    <a:pt x="433780" y="665091"/>
                    <a:pt x="430631" y="652494"/>
                  </a:cubicBezTo>
                  <a:cubicBezTo>
                    <a:pt x="427483" y="640348"/>
                    <a:pt x="399141" y="559372"/>
                    <a:pt x="393743" y="544527"/>
                  </a:cubicBezTo>
                  <a:cubicBezTo>
                    <a:pt x="388344" y="529231"/>
                    <a:pt x="370799" y="485595"/>
                    <a:pt x="367201" y="476597"/>
                  </a:cubicBezTo>
                  <a:cubicBezTo>
                    <a:pt x="364051" y="467150"/>
                    <a:pt x="360003" y="457703"/>
                    <a:pt x="360003" y="446006"/>
                  </a:cubicBezTo>
                  <a:cubicBezTo>
                    <a:pt x="359553" y="434310"/>
                    <a:pt x="361352" y="391573"/>
                    <a:pt x="362702" y="380326"/>
                  </a:cubicBezTo>
                  <a:cubicBezTo>
                    <a:pt x="364502" y="369080"/>
                    <a:pt x="361352" y="351085"/>
                    <a:pt x="365401" y="332191"/>
                  </a:cubicBezTo>
                  <a:cubicBezTo>
                    <a:pt x="369450" y="313296"/>
                    <a:pt x="367201" y="294852"/>
                    <a:pt x="365851" y="286305"/>
                  </a:cubicBezTo>
                  <a:cubicBezTo>
                    <a:pt x="364502" y="277757"/>
                    <a:pt x="361802" y="258863"/>
                    <a:pt x="359553" y="236370"/>
                  </a:cubicBezTo>
                  <a:cubicBezTo>
                    <a:pt x="356853" y="213876"/>
                    <a:pt x="357754" y="190483"/>
                    <a:pt x="330311" y="176088"/>
                  </a:cubicBezTo>
                  <a:cubicBezTo>
                    <a:pt x="302870" y="161692"/>
                    <a:pt x="273629" y="165741"/>
                    <a:pt x="264181" y="165291"/>
                  </a:cubicBezTo>
                  <a:cubicBezTo>
                    <a:pt x="254734" y="164841"/>
                    <a:pt x="238539" y="167540"/>
                    <a:pt x="230442" y="164391"/>
                  </a:cubicBezTo>
                  <a:cubicBezTo>
                    <a:pt x="222344" y="161242"/>
                    <a:pt x="211997" y="153595"/>
                    <a:pt x="208398" y="151345"/>
                  </a:cubicBezTo>
                  <a:cubicBezTo>
                    <a:pt x="205249" y="148646"/>
                    <a:pt x="204800" y="153145"/>
                    <a:pt x="205249" y="141898"/>
                  </a:cubicBezTo>
                  <a:cubicBezTo>
                    <a:pt x="205699" y="131101"/>
                    <a:pt x="204800" y="117156"/>
                    <a:pt x="203900" y="108608"/>
                  </a:cubicBezTo>
                  <a:cubicBezTo>
                    <a:pt x="203000" y="100061"/>
                    <a:pt x="199851" y="93763"/>
                    <a:pt x="199851" y="90164"/>
                  </a:cubicBezTo>
                  <a:cubicBezTo>
                    <a:pt x="199851" y="84765"/>
                    <a:pt x="202100" y="85665"/>
                    <a:pt x="201650" y="82516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B27EF7C3-2B54-4D22-B27F-2883B27B8387}"/>
                </a:ext>
              </a:extLst>
            </p:cNvPr>
            <p:cNvSpPr/>
            <p:nvPr/>
          </p:nvSpPr>
          <p:spPr>
            <a:xfrm>
              <a:off x="3635022" y="5585899"/>
              <a:ext cx="10201" cy="5101"/>
            </a:xfrm>
            <a:custGeom>
              <a:avLst/>
              <a:gdLst>
                <a:gd name="connsiteX0" fmla="*/ 5623 w 8997"/>
                <a:gd name="connsiteY0" fmla="*/ 3374 h 4498"/>
                <a:gd name="connsiteX1" fmla="*/ 3374 w 8997"/>
                <a:gd name="connsiteY1" fmla="*/ 3374 h 4498"/>
                <a:gd name="connsiteX2" fmla="*/ 5623 w 8997"/>
                <a:gd name="connsiteY2" fmla="*/ 3374 h 4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97" h="4498">
                  <a:moveTo>
                    <a:pt x="5623" y="3374"/>
                  </a:moveTo>
                  <a:cubicBezTo>
                    <a:pt x="4273" y="3374"/>
                    <a:pt x="3374" y="3374"/>
                    <a:pt x="3374" y="3374"/>
                  </a:cubicBezTo>
                  <a:cubicBezTo>
                    <a:pt x="3374" y="3374"/>
                    <a:pt x="4273" y="3374"/>
                    <a:pt x="5623" y="337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F8D46FEF-B43A-402B-A1C4-B04074B5D76D}"/>
                </a:ext>
              </a:extLst>
            </p:cNvPr>
            <p:cNvSpPr/>
            <p:nvPr/>
          </p:nvSpPr>
          <p:spPr>
            <a:xfrm>
              <a:off x="1485670" y="4730209"/>
              <a:ext cx="367254" cy="1616941"/>
            </a:xfrm>
            <a:custGeom>
              <a:avLst/>
              <a:gdLst>
                <a:gd name="connsiteX0" fmla="*/ 4179 w 323902"/>
                <a:gd name="connsiteY0" fmla="*/ 405362 h 1426070"/>
                <a:gd name="connsiteX1" fmla="*/ 14526 w 323902"/>
                <a:gd name="connsiteY1" fmla="*/ 474641 h 1426070"/>
                <a:gd name="connsiteX2" fmla="*/ 15875 w 323902"/>
                <a:gd name="connsiteY2" fmla="*/ 478690 h 1426070"/>
                <a:gd name="connsiteX3" fmla="*/ 31621 w 323902"/>
                <a:gd name="connsiteY3" fmla="*/ 502983 h 1426070"/>
                <a:gd name="connsiteX4" fmla="*/ 47816 w 323902"/>
                <a:gd name="connsiteY4" fmla="*/ 505232 h 1426070"/>
                <a:gd name="connsiteX5" fmla="*/ 58613 w 323902"/>
                <a:gd name="connsiteY5" fmla="*/ 496235 h 1426070"/>
                <a:gd name="connsiteX6" fmla="*/ 62211 w 323902"/>
                <a:gd name="connsiteY6" fmla="*/ 501633 h 1426070"/>
                <a:gd name="connsiteX7" fmla="*/ 62211 w 323902"/>
                <a:gd name="connsiteY7" fmla="*/ 501633 h 1426070"/>
                <a:gd name="connsiteX8" fmla="*/ 62661 w 323902"/>
                <a:gd name="connsiteY8" fmla="*/ 503432 h 1426070"/>
                <a:gd name="connsiteX9" fmla="*/ 77507 w 323902"/>
                <a:gd name="connsiteY9" fmla="*/ 513329 h 1426070"/>
                <a:gd name="connsiteX10" fmla="*/ 74808 w 323902"/>
                <a:gd name="connsiteY10" fmla="*/ 518728 h 1426070"/>
                <a:gd name="connsiteX11" fmla="*/ 68959 w 323902"/>
                <a:gd name="connsiteY11" fmla="*/ 533123 h 1426070"/>
                <a:gd name="connsiteX12" fmla="*/ 70759 w 323902"/>
                <a:gd name="connsiteY12" fmla="*/ 544820 h 1426070"/>
                <a:gd name="connsiteX13" fmla="*/ 68510 w 323902"/>
                <a:gd name="connsiteY13" fmla="*/ 549319 h 1426070"/>
                <a:gd name="connsiteX14" fmla="*/ 68060 w 323902"/>
                <a:gd name="connsiteY14" fmla="*/ 549768 h 1426070"/>
                <a:gd name="connsiteX15" fmla="*/ 45567 w 323902"/>
                <a:gd name="connsiteY15" fmla="*/ 659535 h 1426070"/>
                <a:gd name="connsiteX16" fmla="*/ 41968 w 323902"/>
                <a:gd name="connsiteY16" fmla="*/ 848928 h 1426070"/>
                <a:gd name="connsiteX17" fmla="*/ 46466 w 323902"/>
                <a:gd name="connsiteY17" fmla="*/ 862874 h 1426070"/>
                <a:gd name="connsiteX18" fmla="*/ 77507 w 323902"/>
                <a:gd name="connsiteY18" fmla="*/ 868722 h 1426070"/>
                <a:gd name="connsiteX19" fmla="*/ 98201 w 323902"/>
                <a:gd name="connsiteY19" fmla="*/ 987486 h 1426070"/>
                <a:gd name="connsiteX20" fmla="*/ 60862 w 323902"/>
                <a:gd name="connsiteY20" fmla="*/ 1081958 h 1426070"/>
                <a:gd name="connsiteX21" fmla="*/ 52315 w 323902"/>
                <a:gd name="connsiteY21" fmla="*/ 1226814 h 1426070"/>
                <a:gd name="connsiteX22" fmla="*/ 53664 w 323902"/>
                <a:gd name="connsiteY22" fmla="*/ 1287996 h 1426070"/>
                <a:gd name="connsiteX23" fmla="*/ 41968 w 323902"/>
                <a:gd name="connsiteY23" fmla="*/ 1329384 h 1426070"/>
                <a:gd name="connsiteX24" fmla="*/ 37469 w 323902"/>
                <a:gd name="connsiteY24" fmla="*/ 1335232 h 1426070"/>
                <a:gd name="connsiteX25" fmla="*/ 23523 w 323902"/>
                <a:gd name="connsiteY25" fmla="*/ 1373020 h 1426070"/>
                <a:gd name="connsiteX26" fmla="*/ 37469 w 323902"/>
                <a:gd name="connsiteY26" fmla="*/ 1426104 h 1426070"/>
                <a:gd name="connsiteX27" fmla="*/ 45567 w 323902"/>
                <a:gd name="connsiteY27" fmla="*/ 1428354 h 1426070"/>
                <a:gd name="connsiteX28" fmla="*/ 52315 w 323902"/>
                <a:gd name="connsiteY28" fmla="*/ 1420256 h 1426070"/>
                <a:gd name="connsiteX29" fmla="*/ 75707 w 323902"/>
                <a:gd name="connsiteY29" fmla="*/ 1427454 h 1426070"/>
                <a:gd name="connsiteX30" fmla="*/ 132391 w 323902"/>
                <a:gd name="connsiteY30" fmla="*/ 1427454 h 1426070"/>
                <a:gd name="connsiteX31" fmla="*/ 149036 w 323902"/>
                <a:gd name="connsiteY31" fmla="*/ 1413059 h 1426070"/>
                <a:gd name="connsiteX32" fmla="*/ 133740 w 323902"/>
                <a:gd name="connsiteY32" fmla="*/ 1396863 h 1426070"/>
                <a:gd name="connsiteX33" fmla="*/ 124743 w 323902"/>
                <a:gd name="connsiteY33" fmla="*/ 1390115 h 1426070"/>
                <a:gd name="connsiteX34" fmla="*/ 111247 w 323902"/>
                <a:gd name="connsiteY34" fmla="*/ 1372121 h 1426070"/>
                <a:gd name="connsiteX35" fmla="*/ 98201 w 323902"/>
                <a:gd name="connsiteY35" fmla="*/ 1278999 h 1426070"/>
                <a:gd name="connsiteX36" fmla="*/ 131041 w 323902"/>
                <a:gd name="connsiteY36" fmla="*/ 1141340 h 1426070"/>
                <a:gd name="connsiteX37" fmla="*/ 144087 w 323902"/>
                <a:gd name="connsiteY37" fmla="*/ 1077909 h 1426070"/>
                <a:gd name="connsiteX38" fmla="*/ 159382 w 323902"/>
                <a:gd name="connsiteY38" fmla="*/ 1046419 h 1426070"/>
                <a:gd name="connsiteX39" fmla="*/ 162081 w 323902"/>
                <a:gd name="connsiteY39" fmla="*/ 1059015 h 1426070"/>
                <a:gd name="connsiteX40" fmla="*/ 151285 w 323902"/>
                <a:gd name="connsiteY40" fmla="*/ 1154386 h 1426070"/>
                <a:gd name="connsiteX41" fmla="*/ 149935 w 323902"/>
                <a:gd name="connsiteY41" fmla="*/ 1278999 h 1426070"/>
                <a:gd name="connsiteX42" fmla="*/ 141388 w 323902"/>
                <a:gd name="connsiteY42" fmla="*/ 1327134 h 1426070"/>
                <a:gd name="connsiteX43" fmla="*/ 135989 w 323902"/>
                <a:gd name="connsiteY43" fmla="*/ 1336582 h 1426070"/>
                <a:gd name="connsiteX44" fmla="*/ 130591 w 323902"/>
                <a:gd name="connsiteY44" fmla="*/ 1371221 h 1426070"/>
                <a:gd name="connsiteX45" fmla="*/ 153084 w 323902"/>
                <a:gd name="connsiteY45" fmla="*/ 1421606 h 1426070"/>
                <a:gd name="connsiteX46" fmla="*/ 164781 w 323902"/>
                <a:gd name="connsiteY46" fmla="*/ 1422956 h 1426070"/>
                <a:gd name="connsiteX47" fmla="*/ 167030 w 323902"/>
                <a:gd name="connsiteY47" fmla="*/ 1416208 h 1426070"/>
                <a:gd name="connsiteX48" fmla="*/ 179626 w 323902"/>
                <a:gd name="connsiteY48" fmla="*/ 1423405 h 1426070"/>
                <a:gd name="connsiteX49" fmla="*/ 231810 w 323902"/>
                <a:gd name="connsiteY49" fmla="*/ 1423405 h 1426070"/>
                <a:gd name="connsiteX50" fmla="*/ 239908 w 323902"/>
                <a:gd name="connsiteY50" fmla="*/ 1415308 h 1426070"/>
                <a:gd name="connsiteX51" fmla="*/ 215165 w 323902"/>
                <a:gd name="connsiteY51" fmla="*/ 1387866 h 1426070"/>
                <a:gd name="connsiteX52" fmla="*/ 213366 w 323902"/>
                <a:gd name="connsiteY52" fmla="*/ 1385167 h 1426070"/>
                <a:gd name="connsiteX53" fmla="*/ 195372 w 323902"/>
                <a:gd name="connsiteY53" fmla="*/ 1331183 h 1426070"/>
                <a:gd name="connsiteX54" fmla="*/ 213366 w 323902"/>
                <a:gd name="connsiteY54" fmla="*/ 1204321 h 1426070"/>
                <a:gd name="connsiteX55" fmla="*/ 233610 w 323902"/>
                <a:gd name="connsiteY55" fmla="*/ 1048668 h 1426070"/>
                <a:gd name="connsiteX56" fmla="*/ 239458 w 323902"/>
                <a:gd name="connsiteY56" fmla="*/ 1020327 h 1426070"/>
                <a:gd name="connsiteX57" fmla="*/ 242157 w 323902"/>
                <a:gd name="connsiteY57" fmla="*/ 987037 h 1426070"/>
                <a:gd name="connsiteX58" fmla="*/ 269599 w 323902"/>
                <a:gd name="connsiteY58" fmla="*/ 890766 h 1426070"/>
                <a:gd name="connsiteX59" fmla="*/ 271398 w 323902"/>
                <a:gd name="connsiteY59" fmla="*/ 890766 h 1426070"/>
                <a:gd name="connsiteX60" fmla="*/ 303789 w 323902"/>
                <a:gd name="connsiteY60" fmla="*/ 889416 h 1426070"/>
                <a:gd name="connsiteX61" fmla="*/ 301539 w 323902"/>
                <a:gd name="connsiteY61" fmla="*/ 846679 h 1426070"/>
                <a:gd name="connsiteX62" fmla="*/ 301090 w 323902"/>
                <a:gd name="connsiteY62" fmla="*/ 798094 h 1426070"/>
                <a:gd name="connsiteX63" fmla="*/ 318185 w 323902"/>
                <a:gd name="connsiteY63" fmla="*/ 787297 h 1426070"/>
                <a:gd name="connsiteX64" fmla="*/ 320884 w 323902"/>
                <a:gd name="connsiteY64" fmla="*/ 771102 h 1426070"/>
                <a:gd name="connsiteX65" fmla="*/ 321783 w 323902"/>
                <a:gd name="connsiteY65" fmla="*/ 758056 h 1426070"/>
                <a:gd name="connsiteX66" fmla="*/ 324483 w 323902"/>
                <a:gd name="connsiteY66" fmla="*/ 748159 h 1426070"/>
                <a:gd name="connsiteX67" fmla="*/ 322233 w 323902"/>
                <a:gd name="connsiteY67" fmla="*/ 723416 h 1426070"/>
                <a:gd name="connsiteX68" fmla="*/ 322233 w 323902"/>
                <a:gd name="connsiteY68" fmla="*/ 675281 h 1426070"/>
                <a:gd name="connsiteX69" fmla="*/ 309637 w 323902"/>
                <a:gd name="connsiteY69" fmla="*/ 628495 h 1426070"/>
                <a:gd name="connsiteX70" fmla="*/ 301090 w 323902"/>
                <a:gd name="connsiteY70" fmla="*/ 577210 h 1426070"/>
                <a:gd name="connsiteX71" fmla="*/ 299740 w 323902"/>
                <a:gd name="connsiteY71" fmla="*/ 557866 h 1426070"/>
                <a:gd name="connsiteX72" fmla="*/ 301090 w 323902"/>
                <a:gd name="connsiteY72" fmla="*/ 546619 h 1426070"/>
                <a:gd name="connsiteX73" fmla="*/ 295242 w 323902"/>
                <a:gd name="connsiteY73" fmla="*/ 521427 h 1426070"/>
                <a:gd name="connsiteX74" fmla="*/ 298390 w 323902"/>
                <a:gd name="connsiteY74" fmla="*/ 512879 h 1426070"/>
                <a:gd name="connsiteX75" fmla="*/ 295691 w 323902"/>
                <a:gd name="connsiteY75" fmla="*/ 495785 h 1426070"/>
                <a:gd name="connsiteX76" fmla="*/ 297941 w 323902"/>
                <a:gd name="connsiteY76" fmla="*/ 395915 h 1426070"/>
                <a:gd name="connsiteX77" fmla="*/ 298840 w 323902"/>
                <a:gd name="connsiteY77" fmla="*/ 314039 h 1426070"/>
                <a:gd name="connsiteX78" fmla="*/ 244407 w 323902"/>
                <a:gd name="connsiteY78" fmla="*/ 244760 h 1426070"/>
                <a:gd name="connsiteX79" fmla="*/ 243957 w 323902"/>
                <a:gd name="connsiteY79" fmla="*/ 237563 h 1426070"/>
                <a:gd name="connsiteX80" fmla="*/ 240358 w 323902"/>
                <a:gd name="connsiteY80" fmla="*/ 227215 h 1426070"/>
                <a:gd name="connsiteX81" fmla="*/ 234060 w 323902"/>
                <a:gd name="connsiteY81" fmla="*/ 198874 h 1426070"/>
                <a:gd name="connsiteX82" fmla="*/ 237659 w 323902"/>
                <a:gd name="connsiteY82" fmla="*/ 196175 h 1426070"/>
                <a:gd name="connsiteX83" fmla="*/ 251605 w 323902"/>
                <a:gd name="connsiteY83" fmla="*/ 192126 h 1426070"/>
                <a:gd name="connsiteX84" fmla="*/ 253404 w 323902"/>
                <a:gd name="connsiteY84" fmla="*/ 180430 h 1426070"/>
                <a:gd name="connsiteX85" fmla="*/ 258353 w 323902"/>
                <a:gd name="connsiteY85" fmla="*/ 167834 h 1426070"/>
                <a:gd name="connsiteX86" fmla="*/ 261052 w 323902"/>
                <a:gd name="connsiteY86" fmla="*/ 159736 h 1426070"/>
                <a:gd name="connsiteX87" fmla="*/ 263751 w 323902"/>
                <a:gd name="connsiteY87" fmla="*/ 151188 h 1426070"/>
                <a:gd name="connsiteX88" fmla="*/ 270499 w 323902"/>
                <a:gd name="connsiteY88" fmla="*/ 125096 h 1426070"/>
                <a:gd name="connsiteX89" fmla="*/ 267800 w 323902"/>
                <a:gd name="connsiteY89" fmla="*/ 108451 h 1426070"/>
                <a:gd name="connsiteX90" fmla="*/ 270049 w 323902"/>
                <a:gd name="connsiteY90" fmla="*/ 98104 h 1426070"/>
                <a:gd name="connsiteX91" fmla="*/ 269149 w 323902"/>
                <a:gd name="connsiteY91" fmla="*/ 80560 h 1426070"/>
                <a:gd name="connsiteX92" fmla="*/ 267800 w 323902"/>
                <a:gd name="connsiteY92" fmla="*/ 59416 h 1426070"/>
                <a:gd name="connsiteX93" fmla="*/ 266450 w 323902"/>
                <a:gd name="connsiteY93" fmla="*/ 41871 h 1426070"/>
                <a:gd name="connsiteX94" fmla="*/ 226412 w 323902"/>
                <a:gd name="connsiteY94" fmla="*/ 9931 h 1426070"/>
                <a:gd name="connsiteX95" fmla="*/ 124293 w 323902"/>
                <a:gd name="connsiteY95" fmla="*/ 39172 h 1426070"/>
                <a:gd name="connsiteX96" fmla="*/ 106748 w 323902"/>
                <a:gd name="connsiteY96" fmla="*/ 110701 h 1426070"/>
                <a:gd name="connsiteX97" fmla="*/ 97301 w 323902"/>
                <a:gd name="connsiteY97" fmla="*/ 179080 h 1426070"/>
                <a:gd name="connsiteX98" fmla="*/ 100000 w 323902"/>
                <a:gd name="connsiteY98" fmla="*/ 196625 h 1426070"/>
                <a:gd name="connsiteX99" fmla="*/ 108548 w 323902"/>
                <a:gd name="connsiteY99" fmla="*/ 197974 h 1426070"/>
                <a:gd name="connsiteX100" fmla="*/ 106298 w 323902"/>
                <a:gd name="connsiteY100" fmla="*/ 197075 h 1426070"/>
                <a:gd name="connsiteX101" fmla="*/ 84705 w 323902"/>
                <a:gd name="connsiteY101" fmla="*/ 205622 h 1426070"/>
                <a:gd name="connsiteX102" fmla="*/ 36119 w 323902"/>
                <a:gd name="connsiteY102" fmla="*/ 230815 h 1426070"/>
                <a:gd name="connsiteX103" fmla="*/ 9128 w 323902"/>
                <a:gd name="connsiteY103" fmla="*/ 283448 h 1426070"/>
                <a:gd name="connsiteX104" fmla="*/ 9578 w 323902"/>
                <a:gd name="connsiteY104" fmla="*/ 354527 h 1426070"/>
                <a:gd name="connsiteX105" fmla="*/ 4179 w 323902"/>
                <a:gd name="connsiteY105" fmla="*/ 405362 h 1426070"/>
                <a:gd name="connsiteX106" fmla="*/ 84255 w 323902"/>
                <a:gd name="connsiteY106" fmla="*/ 507481 h 1426070"/>
                <a:gd name="connsiteX107" fmla="*/ 84255 w 323902"/>
                <a:gd name="connsiteY107" fmla="*/ 507481 h 1426070"/>
                <a:gd name="connsiteX108" fmla="*/ 84255 w 323902"/>
                <a:gd name="connsiteY108" fmla="*/ 507481 h 1426070"/>
                <a:gd name="connsiteX109" fmla="*/ 84255 w 323902"/>
                <a:gd name="connsiteY109" fmla="*/ 507481 h 1426070"/>
                <a:gd name="connsiteX110" fmla="*/ 84255 w 323902"/>
                <a:gd name="connsiteY110" fmla="*/ 507481 h 1426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323902" h="1426070">
                  <a:moveTo>
                    <a:pt x="4179" y="405362"/>
                  </a:moveTo>
                  <a:cubicBezTo>
                    <a:pt x="1480" y="422007"/>
                    <a:pt x="-3019" y="435053"/>
                    <a:pt x="14526" y="474641"/>
                  </a:cubicBezTo>
                  <a:cubicBezTo>
                    <a:pt x="14526" y="474641"/>
                    <a:pt x="14526" y="476440"/>
                    <a:pt x="15875" y="478690"/>
                  </a:cubicBezTo>
                  <a:cubicBezTo>
                    <a:pt x="16326" y="480489"/>
                    <a:pt x="25773" y="500283"/>
                    <a:pt x="31621" y="502983"/>
                  </a:cubicBezTo>
                  <a:cubicBezTo>
                    <a:pt x="37469" y="505682"/>
                    <a:pt x="43317" y="509731"/>
                    <a:pt x="47816" y="505232"/>
                  </a:cubicBezTo>
                  <a:cubicBezTo>
                    <a:pt x="51415" y="501633"/>
                    <a:pt x="55463" y="498484"/>
                    <a:pt x="58613" y="496235"/>
                  </a:cubicBezTo>
                  <a:cubicBezTo>
                    <a:pt x="59512" y="497584"/>
                    <a:pt x="60862" y="499833"/>
                    <a:pt x="62211" y="501633"/>
                  </a:cubicBezTo>
                  <a:cubicBezTo>
                    <a:pt x="62211" y="501633"/>
                    <a:pt x="62211" y="501633"/>
                    <a:pt x="62211" y="501633"/>
                  </a:cubicBezTo>
                  <a:cubicBezTo>
                    <a:pt x="62211" y="502083"/>
                    <a:pt x="62211" y="502533"/>
                    <a:pt x="62661" y="503432"/>
                  </a:cubicBezTo>
                  <a:cubicBezTo>
                    <a:pt x="62661" y="503432"/>
                    <a:pt x="75258" y="512430"/>
                    <a:pt x="77507" y="513329"/>
                  </a:cubicBezTo>
                  <a:cubicBezTo>
                    <a:pt x="76607" y="515129"/>
                    <a:pt x="76157" y="516928"/>
                    <a:pt x="74808" y="518728"/>
                  </a:cubicBezTo>
                  <a:cubicBezTo>
                    <a:pt x="71209" y="523226"/>
                    <a:pt x="68959" y="527275"/>
                    <a:pt x="68959" y="533123"/>
                  </a:cubicBezTo>
                  <a:cubicBezTo>
                    <a:pt x="68959" y="537622"/>
                    <a:pt x="71659" y="540321"/>
                    <a:pt x="70759" y="544820"/>
                  </a:cubicBezTo>
                  <a:cubicBezTo>
                    <a:pt x="70309" y="545720"/>
                    <a:pt x="69409" y="547519"/>
                    <a:pt x="68510" y="549319"/>
                  </a:cubicBezTo>
                  <a:cubicBezTo>
                    <a:pt x="68510" y="549319"/>
                    <a:pt x="68510" y="549768"/>
                    <a:pt x="68060" y="549768"/>
                  </a:cubicBezTo>
                  <a:cubicBezTo>
                    <a:pt x="62211" y="557866"/>
                    <a:pt x="45567" y="598354"/>
                    <a:pt x="45567" y="659535"/>
                  </a:cubicBezTo>
                  <a:cubicBezTo>
                    <a:pt x="45567" y="720717"/>
                    <a:pt x="43317" y="830034"/>
                    <a:pt x="41968" y="848928"/>
                  </a:cubicBezTo>
                  <a:cubicBezTo>
                    <a:pt x="41968" y="848928"/>
                    <a:pt x="40618" y="859275"/>
                    <a:pt x="46466" y="862874"/>
                  </a:cubicBezTo>
                  <a:cubicBezTo>
                    <a:pt x="46466" y="862874"/>
                    <a:pt x="56813" y="869622"/>
                    <a:pt x="77507" y="868722"/>
                  </a:cubicBezTo>
                  <a:cubicBezTo>
                    <a:pt x="83805" y="888966"/>
                    <a:pt x="94152" y="929904"/>
                    <a:pt x="98201" y="987486"/>
                  </a:cubicBezTo>
                  <a:cubicBezTo>
                    <a:pt x="99100" y="1001432"/>
                    <a:pt x="75707" y="1034722"/>
                    <a:pt x="60862" y="1081958"/>
                  </a:cubicBezTo>
                  <a:cubicBezTo>
                    <a:pt x="46466" y="1129194"/>
                    <a:pt x="49166" y="1193525"/>
                    <a:pt x="52315" y="1226814"/>
                  </a:cubicBezTo>
                  <a:cubicBezTo>
                    <a:pt x="55014" y="1260105"/>
                    <a:pt x="59063" y="1273601"/>
                    <a:pt x="53664" y="1287996"/>
                  </a:cubicBezTo>
                  <a:cubicBezTo>
                    <a:pt x="48716" y="1302392"/>
                    <a:pt x="45117" y="1325335"/>
                    <a:pt x="41968" y="1329384"/>
                  </a:cubicBezTo>
                  <a:cubicBezTo>
                    <a:pt x="41068" y="1330283"/>
                    <a:pt x="39718" y="1332533"/>
                    <a:pt x="37469" y="1335232"/>
                  </a:cubicBezTo>
                  <a:cubicBezTo>
                    <a:pt x="30721" y="1344229"/>
                    <a:pt x="19924" y="1361324"/>
                    <a:pt x="23523" y="1373020"/>
                  </a:cubicBezTo>
                  <a:cubicBezTo>
                    <a:pt x="28472" y="1388316"/>
                    <a:pt x="39718" y="1404511"/>
                    <a:pt x="37469" y="1426104"/>
                  </a:cubicBezTo>
                  <a:lnTo>
                    <a:pt x="45567" y="1428354"/>
                  </a:lnTo>
                  <a:cubicBezTo>
                    <a:pt x="45567" y="1428354"/>
                    <a:pt x="46916" y="1419806"/>
                    <a:pt x="52315" y="1420256"/>
                  </a:cubicBezTo>
                  <a:cubicBezTo>
                    <a:pt x="57263" y="1421156"/>
                    <a:pt x="67610" y="1425205"/>
                    <a:pt x="75707" y="1427454"/>
                  </a:cubicBezTo>
                  <a:cubicBezTo>
                    <a:pt x="83805" y="1429704"/>
                    <a:pt x="132391" y="1427454"/>
                    <a:pt x="132391" y="1427454"/>
                  </a:cubicBezTo>
                  <a:cubicBezTo>
                    <a:pt x="132391" y="1427454"/>
                    <a:pt x="148586" y="1417107"/>
                    <a:pt x="149036" y="1413059"/>
                  </a:cubicBezTo>
                  <a:cubicBezTo>
                    <a:pt x="149935" y="1408560"/>
                    <a:pt x="139588" y="1402262"/>
                    <a:pt x="133740" y="1396863"/>
                  </a:cubicBezTo>
                  <a:cubicBezTo>
                    <a:pt x="131491" y="1395064"/>
                    <a:pt x="128342" y="1392815"/>
                    <a:pt x="124743" y="1390115"/>
                  </a:cubicBezTo>
                  <a:cubicBezTo>
                    <a:pt x="119344" y="1386067"/>
                    <a:pt x="113946" y="1380668"/>
                    <a:pt x="111247" y="1372121"/>
                  </a:cubicBezTo>
                  <a:cubicBezTo>
                    <a:pt x="106748" y="1358175"/>
                    <a:pt x="97301" y="1319937"/>
                    <a:pt x="98201" y="1278999"/>
                  </a:cubicBezTo>
                  <a:cubicBezTo>
                    <a:pt x="99100" y="1238061"/>
                    <a:pt x="125643" y="1164733"/>
                    <a:pt x="131041" y="1141340"/>
                  </a:cubicBezTo>
                  <a:cubicBezTo>
                    <a:pt x="135989" y="1117947"/>
                    <a:pt x="140488" y="1084657"/>
                    <a:pt x="144087" y="1077909"/>
                  </a:cubicBezTo>
                  <a:cubicBezTo>
                    <a:pt x="147686" y="1071161"/>
                    <a:pt x="156683" y="1049568"/>
                    <a:pt x="159382" y="1046419"/>
                  </a:cubicBezTo>
                  <a:cubicBezTo>
                    <a:pt x="162081" y="1043720"/>
                    <a:pt x="164331" y="1050918"/>
                    <a:pt x="162081" y="1059015"/>
                  </a:cubicBezTo>
                  <a:cubicBezTo>
                    <a:pt x="159832" y="1067113"/>
                    <a:pt x="150385" y="1126045"/>
                    <a:pt x="151285" y="1154386"/>
                  </a:cubicBezTo>
                  <a:cubicBezTo>
                    <a:pt x="152184" y="1182728"/>
                    <a:pt x="150385" y="1256506"/>
                    <a:pt x="149935" y="1278999"/>
                  </a:cubicBezTo>
                  <a:cubicBezTo>
                    <a:pt x="149036" y="1301492"/>
                    <a:pt x="147236" y="1318137"/>
                    <a:pt x="141388" y="1327134"/>
                  </a:cubicBezTo>
                  <a:cubicBezTo>
                    <a:pt x="139588" y="1329384"/>
                    <a:pt x="137789" y="1332983"/>
                    <a:pt x="135989" y="1336582"/>
                  </a:cubicBezTo>
                  <a:cubicBezTo>
                    <a:pt x="130591" y="1346928"/>
                    <a:pt x="126092" y="1360874"/>
                    <a:pt x="130591" y="1371221"/>
                  </a:cubicBezTo>
                  <a:cubicBezTo>
                    <a:pt x="137339" y="1385617"/>
                    <a:pt x="150385" y="1400912"/>
                    <a:pt x="153084" y="1421606"/>
                  </a:cubicBezTo>
                  <a:lnTo>
                    <a:pt x="164781" y="1422956"/>
                  </a:lnTo>
                  <a:cubicBezTo>
                    <a:pt x="164781" y="1422956"/>
                    <a:pt x="164781" y="1415758"/>
                    <a:pt x="167030" y="1416208"/>
                  </a:cubicBezTo>
                  <a:cubicBezTo>
                    <a:pt x="169279" y="1417107"/>
                    <a:pt x="169279" y="1422956"/>
                    <a:pt x="179626" y="1423405"/>
                  </a:cubicBezTo>
                  <a:cubicBezTo>
                    <a:pt x="189973" y="1424305"/>
                    <a:pt x="230011" y="1422506"/>
                    <a:pt x="231810" y="1423405"/>
                  </a:cubicBezTo>
                  <a:cubicBezTo>
                    <a:pt x="234060" y="1424305"/>
                    <a:pt x="239008" y="1420706"/>
                    <a:pt x="239908" y="1415308"/>
                  </a:cubicBezTo>
                  <a:cubicBezTo>
                    <a:pt x="240358" y="1410809"/>
                    <a:pt x="222363" y="1398213"/>
                    <a:pt x="215165" y="1387866"/>
                  </a:cubicBezTo>
                  <a:cubicBezTo>
                    <a:pt x="214716" y="1386966"/>
                    <a:pt x="213816" y="1386067"/>
                    <a:pt x="213366" y="1385167"/>
                  </a:cubicBezTo>
                  <a:cubicBezTo>
                    <a:pt x="208417" y="1374820"/>
                    <a:pt x="194472" y="1356825"/>
                    <a:pt x="195372" y="1331183"/>
                  </a:cubicBezTo>
                  <a:cubicBezTo>
                    <a:pt x="196271" y="1305541"/>
                    <a:pt x="197621" y="1281698"/>
                    <a:pt x="213366" y="1204321"/>
                  </a:cubicBezTo>
                  <a:cubicBezTo>
                    <a:pt x="229561" y="1126945"/>
                    <a:pt x="236759" y="1111199"/>
                    <a:pt x="233610" y="1048668"/>
                  </a:cubicBezTo>
                  <a:cubicBezTo>
                    <a:pt x="233610" y="1048668"/>
                    <a:pt x="236309" y="1032473"/>
                    <a:pt x="239458" y="1020327"/>
                  </a:cubicBezTo>
                  <a:cubicBezTo>
                    <a:pt x="242157" y="1007730"/>
                    <a:pt x="238109" y="997834"/>
                    <a:pt x="242157" y="987037"/>
                  </a:cubicBezTo>
                  <a:cubicBezTo>
                    <a:pt x="246206" y="977140"/>
                    <a:pt x="263301" y="915958"/>
                    <a:pt x="269599" y="890766"/>
                  </a:cubicBezTo>
                  <a:cubicBezTo>
                    <a:pt x="270049" y="890766"/>
                    <a:pt x="270499" y="890766"/>
                    <a:pt x="271398" y="890766"/>
                  </a:cubicBezTo>
                  <a:cubicBezTo>
                    <a:pt x="279046" y="892115"/>
                    <a:pt x="294791" y="893465"/>
                    <a:pt x="303789" y="889416"/>
                  </a:cubicBezTo>
                  <a:cubicBezTo>
                    <a:pt x="303789" y="889416"/>
                    <a:pt x="302889" y="879069"/>
                    <a:pt x="301539" y="846679"/>
                  </a:cubicBezTo>
                  <a:cubicBezTo>
                    <a:pt x="301090" y="836332"/>
                    <a:pt x="301090" y="818787"/>
                    <a:pt x="301090" y="798094"/>
                  </a:cubicBezTo>
                  <a:cubicBezTo>
                    <a:pt x="310987" y="793145"/>
                    <a:pt x="315485" y="790446"/>
                    <a:pt x="318185" y="787297"/>
                  </a:cubicBezTo>
                  <a:cubicBezTo>
                    <a:pt x="321334" y="782798"/>
                    <a:pt x="322233" y="775151"/>
                    <a:pt x="320884" y="771102"/>
                  </a:cubicBezTo>
                  <a:cubicBezTo>
                    <a:pt x="319984" y="766603"/>
                    <a:pt x="320884" y="759855"/>
                    <a:pt x="321783" y="758056"/>
                  </a:cubicBezTo>
                  <a:cubicBezTo>
                    <a:pt x="322683" y="756256"/>
                    <a:pt x="325382" y="752207"/>
                    <a:pt x="324483" y="748159"/>
                  </a:cubicBezTo>
                  <a:cubicBezTo>
                    <a:pt x="323583" y="744110"/>
                    <a:pt x="322683" y="735562"/>
                    <a:pt x="322233" y="723416"/>
                  </a:cubicBezTo>
                  <a:cubicBezTo>
                    <a:pt x="321783" y="711270"/>
                    <a:pt x="322233" y="675281"/>
                    <a:pt x="322233" y="675281"/>
                  </a:cubicBezTo>
                  <a:cubicBezTo>
                    <a:pt x="318634" y="664484"/>
                    <a:pt x="312786" y="644240"/>
                    <a:pt x="309637" y="628495"/>
                  </a:cubicBezTo>
                  <a:cubicBezTo>
                    <a:pt x="306488" y="612749"/>
                    <a:pt x="301090" y="577210"/>
                    <a:pt x="301090" y="577210"/>
                  </a:cubicBezTo>
                  <a:cubicBezTo>
                    <a:pt x="299290" y="570012"/>
                    <a:pt x="299290" y="562364"/>
                    <a:pt x="299740" y="557866"/>
                  </a:cubicBezTo>
                  <a:cubicBezTo>
                    <a:pt x="300640" y="558316"/>
                    <a:pt x="303789" y="559216"/>
                    <a:pt x="301090" y="546619"/>
                  </a:cubicBezTo>
                  <a:cubicBezTo>
                    <a:pt x="298390" y="531774"/>
                    <a:pt x="296141" y="525026"/>
                    <a:pt x="295242" y="521427"/>
                  </a:cubicBezTo>
                  <a:cubicBezTo>
                    <a:pt x="294342" y="517828"/>
                    <a:pt x="297941" y="516479"/>
                    <a:pt x="298390" y="512879"/>
                  </a:cubicBezTo>
                  <a:cubicBezTo>
                    <a:pt x="299290" y="509731"/>
                    <a:pt x="297491" y="504332"/>
                    <a:pt x="295691" y="495785"/>
                  </a:cubicBezTo>
                  <a:cubicBezTo>
                    <a:pt x="293892" y="487237"/>
                    <a:pt x="296591" y="418858"/>
                    <a:pt x="297941" y="395915"/>
                  </a:cubicBezTo>
                  <a:cubicBezTo>
                    <a:pt x="298840" y="373421"/>
                    <a:pt x="302889" y="327535"/>
                    <a:pt x="298840" y="314039"/>
                  </a:cubicBezTo>
                  <a:cubicBezTo>
                    <a:pt x="295242" y="300544"/>
                    <a:pt x="262401" y="262755"/>
                    <a:pt x="244407" y="244760"/>
                  </a:cubicBezTo>
                  <a:cubicBezTo>
                    <a:pt x="239458" y="239812"/>
                    <a:pt x="243957" y="237563"/>
                    <a:pt x="243957" y="237563"/>
                  </a:cubicBezTo>
                  <a:cubicBezTo>
                    <a:pt x="244857" y="234863"/>
                    <a:pt x="267800" y="272652"/>
                    <a:pt x="240358" y="227215"/>
                  </a:cubicBezTo>
                  <a:cubicBezTo>
                    <a:pt x="234960" y="218668"/>
                    <a:pt x="235409" y="202023"/>
                    <a:pt x="234060" y="198874"/>
                  </a:cubicBezTo>
                  <a:cubicBezTo>
                    <a:pt x="233160" y="195725"/>
                    <a:pt x="237659" y="196175"/>
                    <a:pt x="237659" y="196175"/>
                  </a:cubicBezTo>
                  <a:cubicBezTo>
                    <a:pt x="244857" y="195725"/>
                    <a:pt x="248455" y="194825"/>
                    <a:pt x="251605" y="192126"/>
                  </a:cubicBezTo>
                  <a:cubicBezTo>
                    <a:pt x="254304" y="189427"/>
                    <a:pt x="254304" y="185828"/>
                    <a:pt x="253404" y="180430"/>
                  </a:cubicBezTo>
                  <a:cubicBezTo>
                    <a:pt x="252504" y="175031"/>
                    <a:pt x="256553" y="170083"/>
                    <a:pt x="258353" y="167834"/>
                  </a:cubicBezTo>
                  <a:cubicBezTo>
                    <a:pt x="260152" y="166034"/>
                    <a:pt x="261052" y="161985"/>
                    <a:pt x="261052" y="159736"/>
                  </a:cubicBezTo>
                  <a:cubicBezTo>
                    <a:pt x="261052" y="157486"/>
                    <a:pt x="263751" y="151188"/>
                    <a:pt x="263751" y="151188"/>
                  </a:cubicBezTo>
                  <a:cubicBezTo>
                    <a:pt x="269599" y="138142"/>
                    <a:pt x="270499" y="133194"/>
                    <a:pt x="270499" y="125096"/>
                  </a:cubicBezTo>
                  <a:cubicBezTo>
                    <a:pt x="270499" y="116999"/>
                    <a:pt x="267800" y="112050"/>
                    <a:pt x="267800" y="108451"/>
                  </a:cubicBezTo>
                  <a:cubicBezTo>
                    <a:pt x="267800" y="104852"/>
                    <a:pt x="270049" y="98104"/>
                    <a:pt x="270049" y="98104"/>
                  </a:cubicBezTo>
                  <a:cubicBezTo>
                    <a:pt x="271398" y="90007"/>
                    <a:pt x="269149" y="80560"/>
                    <a:pt x="269149" y="80560"/>
                  </a:cubicBezTo>
                  <a:cubicBezTo>
                    <a:pt x="266450" y="73362"/>
                    <a:pt x="267800" y="59416"/>
                    <a:pt x="267800" y="59416"/>
                  </a:cubicBezTo>
                  <a:cubicBezTo>
                    <a:pt x="269149" y="49969"/>
                    <a:pt x="266450" y="41871"/>
                    <a:pt x="266450" y="41871"/>
                  </a:cubicBezTo>
                  <a:cubicBezTo>
                    <a:pt x="256103" y="25676"/>
                    <a:pt x="226412" y="9931"/>
                    <a:pt x="226412" y="9931"/>
                  </a:cubicBezTo>
                  <a:cubicBezTo>
                    <a:pt x="173328" y="-11213"/>
                    <a:pt x="142737" y="11280"/>
                    <a:pt x="124293" y="39172"/>
                  </a:cubicBezTo>
                  <a:cubicBezTo>
                    <a:pt x="106298" y="66614"/>
                    <a:pt x="108997" y="96755"/>
                    <a:pt x="106748" y="110701"/>
                  </a:cubicBezTo>
                  <a:cubicBezTo>
                    <a:pt x="104499" y="124646"/>
                    <a:pt x="94152" y="162435"/>
                    <a:pt x="97301" y="179080"/>
                  </a:cubicBezTo>
                  <a:cubicBezTo>
                    <a:pt x="100000" y="195725"/>
                    <a:pt x="100000" y="196625"/>
                    <a:pt x="100000" y="196625"/>
                  </a:cubicBezTo>
                  <a:cubicBezTo>
                    <a:pt x="103599" y="193926"/>
                    <a:pt x="106298" y="194825"/>
                    <a:pt x="108548" y="197974"/>
                  </a:cubicBezTo>
                  <a:cubicBezTo>
                    <a:pt x="107648" y="197524"/>
                    <a:pt x="106748" y="197524"/>
                    <a:pt x="106298" y="197075"/>
                  </a:cubicBezTo>
                  <a:cubicBezTo>
                    <a:pt x="97751" y="193026"/>
                    <a:pt x="89203" y="206072"/>
                    <a:pt x="84705" y="205622"/>
                  </a:cubicBezTo>
                  <a:cubicBezTo>
                    <a:pt x="80206" y="205172"/>
                    <a:pt x="59063" y="208321"/>
                    <a:pt x="36119" y="230815"/>
                  </a:cubicBezTo>
                  <a:cubicBezTo>
                    <a:pt x="12726" y="252858"/>
                    <a:pt x="4629" y="269953"/>
                    <a:pt x="9128" y="283448"/>
                  </a:cubicBezTo>
                  <a:cubicBezTo>
                    <a:pt x="13626" y="296944"/>
                    <a:pt x="10927" y="325736"/>
                    <a:pt x="9578" y="354527"/>
                  </a:cubicBezTo>
                  <a:cubicBezTo>
                    <a:pt x="8678" y="384668"/>
                    <a:pt x="6878" y="388717"/>
                    <a:pt x="4179" y="405362"/>
                  </a:cubicBezTo>
                  <a:close/>
                  <a:moveTo>
                    <a:pt x="84255" y="507481"/>
                  </a:moveTo>
                  <a:lnTo>
                    <a:pt x="84255" y="507481"/>
                  </a:lnTo>
                  <a:lnTo>
                    <a:pt x="84255" y="507481"/>
                  </a:lnTo>
                  <a:lnTo>
                    <a:pt x="84255" y="507481"/>
                  </a:lnTo>
                  <a:lnTo>
                    <a:pt x="84255" y="507481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CB59F27A-943C-41F9-A5CF-5845BA33A1CF}"/>
                </a:ext>
              </a:extLst>
            </p:cNvPr>
            <p:cNvSpPr/>
            <p:nvPr/>
          </p:nvSpPr>
          <p:spPr>
            <a:xfrm>
              <a:off x="1860057" y="4659071"/>
              <a:ext cx="571284" cy="1703654"/>
            </a:xfrm>
            <a:custGeom>
              <a:avLst/>
              <a:gdLst>
                <a:gd name="connsiteX0" fmla="*/ 4637 w 503848"/>
                <a:gd name="connsiteY0" fmla="*/ 521636 h 1502547"/>
                <a:gd name="connsiteX1" fmla="*/ 10935 w 503848"/>
                <a:gd name="connsiteY1" fmla="*/ 523435 h 1502547"/>
                <a:gd name="connsiteX2" fmla="*/ 42876 w 503848"/>
                <a:gd name="connsiteY2" fmla="*/ 524335 h 1502547"/>
                <a:gd name="connsiteX3" fmla="*/ 43325 w 503848"/>
                <a:gd name="connsiteY3" fmla="*/ 529734 h 1502547"/>
                <a:gd name="connsiteX4" fmla="*/ 47374 w 503848"/>
                <a:gd name="connsiteY4" fmla="*/ 558075 h 1502547"/>
                <a:gd name="connsiteX5" fmla="*/ 56821 w 503848"/>
                <a:gd name="connsiteY5" fmla="*/ 578769 h 1502547"/>
                <a:gd name="connsiteX6" fmla="*/ 78415 w 503848"/>
                <a:gd name="connsiteY6" fmla="*/ 600812 h 1502547"/>
                <a:gd name="connsiteX7" fmla="*/ 88312 w 503848"/>
                <a:gd name="connsiteY7" fmla="*/ 608010 h 1502547"/>
                <a:gd name="connsiteX8" fmla="*/ 108106 w 503848"/>
                <a:gd name="connsiteY8" fmla="*/ 617457 h 1502547"/>
                <a:gd name="connsiteX9" fmla="*/ 113954 w 503848"/>
                <a:gd name="connsiteY9" fmla="*/ 616557 h 1502547"/>
                <a:gd name="connsiteX10" fmla="*/ 103157 w 503848"/>
                <a:gd name="connsiteY10" fmla="*/ 638151 h 1502547"/>
                <a:gd name="connsiteX11" fmla="*/ 86962 w 503848"/>
                <a:gd name="connsiteY11" fmla="*/ 682687 h 1502547"/>
                <a:gd name="connsiteX12" fmla="*/ 76615 w 503848"/>
                <a:gd name="connsiteY12" fmla="*/ 806850 h 1502547"/>
                <a:gd name="connsiteX13" fmla="*/ 83363 w 503848"/>
                <a:gd name="connsiteY13" fmla="*/ 852736 h 1502547"/>
                <a:gd name="connsiteX14" fmla="*/ 92810 w 503848"/>
                <a:gd name="connsiteY14" fmla="*/ 984097 h 1502547"/>
                <a:gd name="connsiteX15" fmla="*/ 104057 w 503848"/>
                <a:gd name="connsiteY15" fmla="*/ 1063723 h 1502547"/>
                <a:gd name="connsiteX16" fmla="*/ 106306 w 503848"/>
                <a:gd name="connsiteY16" fmla="*/ 1098362 h 1502547"/>
                <a:gd name="connsiteX17" fmla="*/ 107656 w 503848"/>
                <a:gd name="connsiteY17" fmla="*/ 1116807 h 1502547"/>
                <a:gd name="connsiteX18" fmla="*/ 105407 w 503848"/>
                <a:gd name="connsiteY18" fmla="*/ 1167641 h 1502547"/>
                <a:gd name="connsiteX19" fmla="*/ 105407 w 503848"/>
                <a:gd name="connsiteY19" fmla="*/ 1269761 h 1502547"/>
                <a:gd name="connsiteX20" fmla="*/ 115754 w 503848"/>
                <a:gd name="connsiteY20" fmla="*/ 1362882 h 1502547"/>
                <a:gd name="connsiteX21" fmla="*/ 122502 w 503848"/>
                <a:gd name="connsiteY21" fmla="*/ 1381327 h 1502547"/>
                <a:gd name="connsiteX22" fmla="*/ 104057 w 503848"/>
                <a:gd name="connsiteY22" fmla="*/ 1412368 h 1502547"/>
                <a:gd name="connsiteX23" fmla="*/ 101808 w 503848"/>
                <a:gd name="connsiteY23" fmla="*/ 1442059 h 1502547"/>
                <a:gd name="connsiteX24" fmla="*/ 86962 w 503848"/>
                <a:gd name="connsiteY24" fmla="*/ 1459154 h 1502547"/>
                <a:gd name="connsiteX25" fmla="*/ 53672 w 503848"/>
                <a:gd name="connsiteY25" fmla="*/ 1466351 h 1502547"/>
                <a:gd name="connsiteX26" fmla="*/ 47824 w 503848"/>
                <a:gd name="connsiteY26" fmla="*/ 1477598 h 1502547"/>
                <a:gd name="connsiteX27" fmla="*/ 43325 w 503848"/>
                <a:gd name="connsiteY27" fmla="*/ 1485696 h 1502547"/>
                <a:gd name="connsiteX28" fmla="*/ 75716 w 503848"/>
                <a:gd name="connsiteY28" fmla="*/ 1497392 h 1502547"/>
                <a:gd name="connsiteX29" fmla="*/ 198979 w 503848"/>
                <a:gd name="connsiteY29" fmla="*/ 1497392 h 1502547"/>
                <a:gd name="connsiteX30" fmla="*/ 207976 w 503848"/>
                <a:gd name="connsiteY30" fmla="*/ 1496043 h 1502547"/>
                <a:gd name="connsiteX31" fmla="*/ 207076 w 503848"/>
                <a:gd name="connsiteY31" fmla="*/ 1473099 h 1502547"/>
                <a:gd name="connsiteX32" fmla="*/ 204827 w 503848"/>
                <a:gd name="connsiteY32" fmla="*/ 1461403 h 1502547"/>
                <a:gd name="connsiteX33" fmla="*/ 211125 w 503848"/>
                <a:gd name="connsiteY33" fmla="*/ 1445208 h 1502547"/>
                <a:gd name="connsiteX34" fmla="*/ 215623 w 503848"/>
                <a:gd name="connsiteY34" fmla="*/ 1430362 h 1502547"/>
                <a:gd name="connsiteX35" fmla="*/ 216973 w 503848"/>
                <a:gd name="connsiteY35" fmla="*/ 1421365 h 1502547"/>
                <a:gd name="connsiteX36" fmla="*/ 216523 w 503848"/>
                <a:gd name="connsiteY36" fmla="*/ 1412368 h 1502547"/>
                <a:gd name="connsiteX37" fmla="*/ 214274 w 503848"/>
                <a:gd name="connsiteY37" fmla="*/ 1383576 h 1502547"/>
                <a:gd name="connsiteX38" fmla="*/ 207976 w 503848"/>
                <a:gd name="connsiteY38" fmla="*/ 1361083 h 1502547"/>
                <a:gd name="connsiteX39" fmla="*/ 204827 w 503848"/>
                <a:gd name="connsiteY39" fmla="*/ 1332742 h 1502547"/>
                <a:gd name="connsiteX40" fmla="*/ 212475 w 503848"/>
                <a:gd name="connsiteY40" fmla="*/ 1282807 h 1502547"/>
                <a:gd name="connsiteX41" fmla="*/ 223271 w 503848"/>
                <a:gd name="connsiteY41" fmla="*/ 1189685 h 1502547"/>
                <a:gd name="connsiteX42" fmla="*/ 225520 w 503848"/>
                <a:gd name="connsiteY42" fmla="*/ 1070021 h 1502547"/>
                <a:gd name="connsiteX43" fmla="*/ 243065 w 503848"/>
                <a:gd name="connsiteY43" fmla="*/ 899072 h 1502547"/>
                <a:gd name="connsiteX44" fmla="*/ 255212 w 503848"/>
                <a:gd name="connsiteY44" fmla="*/ 838340 h 1502547"/>
                <a:gd name="connsiteX45" fmla="*/ 253412 w 503848"/>
                <a:gd name="connsiteY45" fmla="*/ 843289 h 1502547"/>
                <a:gd name="connsiteX46" fmla="*/ 255212 w 503848"/>
                <a:gd name="connsiteY46" fmla="*/ 837891 h 1502547"/>
                <a:gd name="connsiteX47" fmla="*/ 255212 w 503848"/>
                <a:gd name="connsiteY47" fmla="*/ 838340 h 1502547"/>
                <a:gd name="connsiteX48" fmla="*/ 255212 w 503848"/>
                <a:gd name="connsiteY48" fmla="*/ 837441 h 1502547"/>
                <a:gd name="connsiteX49" fmla="*/ 255661 w 503848"/>
                <a:gd name="connsiteY49" fmla="*/ 836541 h 1502547"/>
                <a:gd name="connsiteX50" fmla="*/ 255661 w 503848"/>
                <a:gd name="connsiteY50" fmla="*/ 836541 h 1502547"/>
                <a:gd name="connsiteX51" fmla="*/ 255661 w 503848"/>
                <a:gd name="connsiteY51" fmla="*/ 836541 h 1502547"/>
                <a:gd name="connsiteX52" fmla="*/ 255661 w 503848"/>
                <a:gd name="connsiteY52" fmla="*/ 836541 h 1502547"/>
                <a:gd name="connsiteX53" fmla="*/ 255661 w 503848"/>
                <a:gd name="connsiteY53" fmla="*/ 836541 h 1502547"/>
                <a:gd name="connsiteX54" fmla="*/ 265108 w 503848"/>
                <a:gd name="connsiteY54" fmla="*/ 871181 h 1502547"/>
                <a:gd name="connsiteX55" fmla="*/ 281304 w 503848"/>
                <a:gd name="connsiteY55" fmla="*/ 977798 h 1502547"/>
                <a:gd name="connsiteX56" fmla="*/ 290301 w 503848"/>
                <a:gd name="connsiteY56" fmla="*/ 1006140 h 1502547"/>
                <a:gd name="connsiteX57" fmla="*/ 291201 w 503848"/>
                <a:gd name="connsiteY57" fmla="*/ 1010639 h 1502547"/>
                <a:gd name="connsiteX58" fmla="*/ 296599 w 503848"/>
                <a:gd name="connsiteY58" fmla="*/ 1039430 h 1502547"/>
                <a:gd name="connsiteX59" fmla="*/ 296599 w 503848"/>
                <a:gd name="connsiteY59" fmla="*/ 1040330 h 1502547"/>
                <a:gd name="connsiteX60" fmla="*/ 315044 w 503848"/>
                <a:gd name="connsiteY60" fmla="*/ 1173939 h 1502547"/>
                <a:gd name="connsiteX61" fmla="*/ 322241 w 503848"/>
                <a:gd name="connsiteY61" fmla="*/ 1285506 h 1502547"/>
                <a:gd name="connsiteX62" fmla="*/ 326290 w 503848"/>
                <a:gd name="connsiteY62" fmla="*/ 1337690 h 1502547"/>
                <a:gd name="connsiteX63" fmla="*/ 333938 w 503848"/>
                <a:gd name="connsiteY63" fmla="*/ 1395723 h 1502547"/>
                <a:gd name="connsiteX64" fmla="*/ 344735 w 503848"/>
                <a:gd name="connsiteY64" fmla="*/ 1429463 h 1502547"/>
                <a:gd name="connsiteX65" fmla="*/ 344735 w 503848"/>
                <a:gd name="connsiteY65" fmla="*/ 1432162 h 1502547"/>
                <a:gd name="connsiteX66" fmla="*/ 346984 w 503848"/>
                <a:gd name="connsiteY66" fmla="*/ 1446107 h 1502547"/>
                <a:gd name="connsiteX67" fmla="*/ 350133 w 503848"/>
                <a:gd name="connsiteY67" fmla="*/ 1449707 h 1502547"/>
                <a:gd name="connsiteX68" fmla="*/ 364529 w 503848"/>
                <a:gd name="connsiteY68" fmla="*/ 1465002 h 1502547"/>
                <a:gd name="connsiteX69" fmla="*/ 363629 w 503848"/>
                <a:gd name="connsiteY69" fmla="*/ 1473549 h 1502547"/>
                <a:gd name="connsiteX70" fmla="*/ 361829 w 503848"/>
                <a:gd name="connsiteY70" fmla="*/ 1487045 h 1502547"/>
                <a:gd name="connsiteX71" fmla="*/ 363179 w 503848"/>
                <a:gd name="connsiteY71" fmla="*/ 1500991 h 1502547"/>
                <a:gd name="connsiteX72" fmla="*/ 452702 w 503848"/>
                <a:gd name="connsiteY72" fmla="*/ 1501891 h 1502547"/>
                <a:gd name="connsiteX73" fmla="*/ 474296 w 503848"/>
                <a:gd name="connsiteY73" fmla="*/ 1469950 h 1502547"/>
                <a:gd name="connsiteX74" fmla="*/ 462599 w 503848"/>
                <a:gd name="connsiteY74" fmla="*/ 1455105 h 1502547"/>
                <a:gd name="connsiteX75" fmla="*/ 453602 w 503848"/>
                <a:gd name="connsiteY75" fmla="*/ 1438010 h 1502547"/>
                <a:gd name="connsiteX76" fmla="*/ 452702 w 503848"/>
                <a:gd name="connsiteY76" fmla="*/ 1403820 h 1502547"/>
                <a:gd name="connsiteX77" fmla="*/ 435607 w 503848"/>
                <a:gd name="connsiteY77" fmla="*/ 1375029 h 1502547"/>
                <a:gd name="connsiteX78" fmla="*/ 443705 w 503848"/>
                <a:gd name="connsiteY78" fmla="*/ 1258514 h 1502547"/>
                <a:gd name="connsiteX79" fmla="*/ 419862 w 503848"/>
                <a:gd name="connsiteY79" fmla="*/ 1103311 h 1502547"/>
                <a:gd name="connsiteX80" fmla="*/ 422111 w 503848"/>
                <a:gd name="connsiteY80" fmla="*/ 856785 h 1502547"/>
                <a:gd name="connsiteX81" fmla="*/ 405916 w 503848"/>
                <a:gd name="connsiteY81" fmla="*/ 688985 h 1502547"/>
                <a:gd name="connsiteX82" fmla="*/ 374876 w 503848"/>
                <a:gd name="connsiteY82" fmla="*/ 629153 h 1502547"/>
                <a:gd name="connsiteX83" fmla="*/ 369927 w 503848"/>
                <a:gd name="connsiteY83" fmla="*/ 607560 h 1502547"/>
                <a:gd name="connsiteX84" fmla="*/ 369027 w 503848"/>
                <a:gd name="connsiteY84" fmla="*/ 606660 h 1502547"/>
                <a:gd name="connsiteX85" fmla="*/ 369027 w 503848"/>
                <a:gd name="connsiteY85" fmla="*/ 605760 h 1502547"/>
                <a:gd name="connsiteX86" fmla="*/ 375775 w 503848"/>
                <a:gd name="connsiteY86" fmla="*/ 611159 h 1502547"/>
                <a:gd name="connsiteX87" fmla="*/ 375775 w 503848"/>
                <a:gd name="connsiteY87" fmla="*/ 621056 h 1502547"/>
                <a:gd name="connsiteX88" fmla="*/ 391970 w 503848"/>
                <a:gd name="connsiteY88" fmla="*/ 614308 h 1502547"/>
                <a:gd name="connsiteX89" fmla="*/ 375775 w 503848"/>
                <a:gd name="connsiteY89" fmla="*/ 576070 h 1502547"/>
                <a:gd name="connsiteX90" fmla="*/ 366778 w 503848"/>
                <a:gd name="connsiteY90" fmla="*/ 554026 h 1502547"/>
                <a:gd name="connsiteX91" fmla="*/ 369927 w 503848"/>
                <a:gd name="connsiteY91" fmla="*/ 537381 h 1502547"/>
                <a:gd name="connsiteX92" fmla="*/ 369927 w 503848"/>
                <a:gd name="connsiteY92" fmla="*/ 536931 h 1502547"/>
                <a:gd name="connsiteX93" fmla="*/ 371726 w 503848"/>
                <a:gd name="connsiteY93" fmla="*/ 536931 h 1502547"/>
                <a:gd name="connsiteX94" fmla="*/ 389721 w 503848"/>
                <a:gd name="connsiteY94" fmla="*/ 542779 h 1502547"/>
                <a:gd name="connsiteX95" fmla="*/ 423011 w 503848"/>
                <a:gd name="connsiteY95" fmla="*/ 543229 h 1502547"/>
                <a:gd name="connsiteX96" fmla="*/ 450903 w 503848"/>
                <a:gd name="connsiteY96" fmla="*/ 557625 h 1502547"/>
                <a:gd name="connsiteX97" fmla="*/ 489141 w 503848"/>
                <a:gd name="connsiteY97" fmla="*/ 540980 h 1502547"/>
                <a:gd name="connsiteX98" fmla="*/ 504436 w 503848"/>
                <a:gd name="connsiteY98" fmla="*/ 518487 h 1502547"/>
                <a:gd name="connsiteX99" fmla="*/ 481943 w 503848"/>
                <a:gd name="connsiteY99" fmla="*/ 454156 h 1502547"/>
                <a:gd name="connsiteX100" fmla="*/ 469797 w 503848"/>
                <a:gd name="connsiteY100" fmla="*/ 420416 h 1502547"/>
                <a:gd name="connsiteX101" fmla="*/ 441905 w 503848"/>
                <a:gd name="connsiteY101" fmla="*/ 372731 h 1502547"/>
                <a:gd name="connsiteX102" fmla="*/ 430659 w 503848"/>
                <a:gd name="connsiteY102" fmla="*/ 349338 h 1502547"/>
                <a:gd name="connsiteX103" fmla="*/ 418512 w 503848"/>
                <a:gd name="connsiteY103" fmla="*/ 325945 h 1502547"/>
                <a:gd name="connsiteX104" fmla="*/ 413114 w 503848"/>
                <a:gd name="connsiteY104" fmla="*/ 308400 h 1502547"/>
                <a:gd name="connsiteX105" fmla="*/ 373076 w 503848"/>
                <a:gd name="connsiteY105" fmla="*/ 275110 h 1502547"/>
                <a:gd name="connsiteX106" fmla="*/ 315044 w 503848"/>
                <a:gd name="connsiteY106" fmla="*/ 263414 h 1502547"/>
                <a:gd name="connsiteX107" fmla="*/ 286252 w 503848"/>
                <a:gd name="connsiteY107" fmla="*/ 244969 h 1502547"/>
                <a:gd name="connsiteX108" fmla="*/ 273656 w 503848"/>
                <a:gd name="connsiteY108" fmla="*/ 240021 h 1502547"/>
                <a:gd name="connsiteX109" fmla="*/ 271407 w 503848"/>
                <a:gd name="connsiteY109" fmla="*/ 238221 h 1502547"/>
                <a:gd name="connsiteX110" fmla="*/ 261060 w 503848"/>
                <a:gd name="connsiteY110" fmla="*/ 215728 h 1502547"/>
                <a:gd name="connsiteX111" fmla="*/ 256561 w 503848"/>
                <a:gd name="connsiteY111" fmla="*/ 206281 h 1502547"/>
                <a:gd name="connsiteX112" fmla="*/ 253412 w 503848"/>
                <a:gd name="connsiteY112" fmla="*/ 184687 h 1502547"/>
                <a:gd name="connsiteX113" fmla="*/ 254762 w 503848"/>
                <a:gd name="connsiteY113" fmla="*/ 167593 h 1502547"/>
                <a:gd name="connsiteX114" fmla="*/ 256111 w 503848"/>
                <a:gd name="connsiteY114" fmla="*/ 151397 h 1502547"/>
                <a:gd name="connsiteX115" fmla="*/ 265108 w 503848"/>
                <a:gd name="connsiteY115" fmla="*/ 137452 h 1502547"/>
                <a:gd name="connsiteX116" fmla="*/ 270957 w 503848"/>
                <a:gd name="connsiteY116" fmla="*/ 104161 h 1502547"/>
                <a:gd name="connsiteX117" fmla="*/ 263759 w 503848"/>
                <a:gd name="connsiteY117" fmla="*/ 101912 h 1502547"/>
                <a:gd name="connsiteX118" fmla="*/ 262409 w 503848"/>
                <a:gd name="connsiteY118" fmla="*/ 45679 h 1502547"/>
                <a:gd name="connsiteX119" fmla="*/ 222371 w 503848"/>
                <a:gd name="connsiteY119" fmla="*/ 6541 h 1502547"/>
                <a:gd name="connsiteX120" fmla="*/ 198529 w 503848"/>
                <a:gd name="connsiteY120" fmla="*/ 3392 h 1502547"/>
                <a:gd name="connsiteX121" fmla="*/ 154892 w 503848"/>
                <a:gd name="connsiteY121" fmla="*/ 18687 h 1502547"/>
                <a:gd name="connsiteX122" fmla="*/ 132848 w 503848"/>
                <a:gd name="connsiteY122" fmla="*/ 43880 h 1502547"/>
                <a:gd name="connsiteX123" fmla="*/ 132848 w 503848"/>
                <a:gd name="connsiteY123" fmla="*/ 99213 h 1502547"/>
                <a:gd name="connsiteX124" fmla="*/ 134198 w 503848"/>
                <a:gd name="connsiteY124" fmla="*/ 107311 h 1502547"/>
                <a:gd name="connsiteX125" fmla="*/ 126101 w 503848"/>
                <a:gd name="connsiteY125" fmla="*/ 106411 h 1502547"/>
                <a:gd name="connsiteX126" fmla="*/ 128350 w 503848"/>
                <a:gd name="connsiteY126" fmla="*/ 134302 h 1502547"/>
                <a:gd name="connsiteX127" fmla="*/ 143195 w 503848"/>
                <a:gd name="connsiteY127" fmla="*/ 151397 h 1502547"/>
                <a:gd name="connsiteX128" fmla="*/ 148144 w 503848"/>
                <a:gd name="connsiteY128" fmla="*/ 161744 h 1502547"/>
                <a:gd name="connsiteX129" fmla="*/ 162090 w 503848"/>
                <a:gd name="connsiteY129" fmla="*/ 206281 h 1502547"/>
                <a:gd name="connsiteX130" fmla="*/ 163439 w 503848"/>
                <a:gd name="connsiteY130" fmla="*/ 214378 h 1502547"/>
                <a:gd name="connsiteX131" fmla="*/ 158941 w 503848"/>
                <a:gd name="connsiteY131" fmla="*/ 210779 h 1502547"/>
                <a:gd name="connsiteX132" fmla="*/ 151293 w 503848"/>
                <a:gd name="connsiteY132" fmla="*/ 232373 h 1502547"/>
                <a:gd name="connsiteX133" fmla="*/ 127900 w 503848"/>
                <a:gd name="connsiteY133" fmla="*/ 244519 h 1502547"/>
                <a:gd name="connsiteX134" fmla="*/ 62669 w 503848"/>
                <a:gd name="connsiteY134" fmla="*/ 280059 h 1502547"/>
                <a:gd name="connsiteX135" fmla="*/ 39277 w 503848"/>
                <a:gd name="connsiteY135" fmla="*/ 298953 h 1502547"/>
                <a:gd name="connsiteX136" fmla="*/ 35678 w 503848"/>
                <a:gd name="connsiteY136" fmla="*/ 315598 h 1502547"/>
                <a:gd name="connsiteX137" fmla="*/ 10935 w 503848"/>
                <a:gd name="connsiteY137" fmla="*/ 316498 h 1502547"/>
                <a:gd name="connsiteX138" fmla="*/ 4637 w 503848"/>
                <a:gd name="connsiteY138" fmla="*/ 325945 h 1502547"/>
                <a:gd name="connsiteX139" fmla="*/ 8686 w 503848"/>
                <a:gd name="connsiteY139" fmla="*/ 507240 h 1502547"/>
                <a:gd name="connsiteX140" fmla="*/ 4187 w 503848"/>
                <a:gd name="connsiteY140" fmla="*/ 516238 h 1502547"/>
                <a:gd name="connsiteX141" fmla="*/ 4637 w 503848"/>
                <a:gd name="connsiteY141" fmla="*/ 521636 h 1502547"/>
                <a:gd name="connsiteX142" fmla="*/ 358681 w 503848"/>
                <a:gd name="connsiteY142" fmla="*/ 594514 h 1502547"/>
                <a:gd name="connsiteX143" fmla="*/ 369027 w 503848"/>
                <a:gd name="connsiteY143" fmla="*/ 602611 h 1502547"/>
                <a:gd name="connsiteX144" fmla="*/ 360030 w 503848"/>
                <a:gd name="connsiteY144" fmla="*/ 596313 h 1502547"/>
                <a:gd name="connsiteX145" fmla="*/ 351933 w 503848"/>
                <a:gd name="connsiteY145" fmla="*/ 596763 h 1502547"/>
                <a:gd name="connsiteX146" fmla="*/ 335288 w 503848"/>
                <a:gd name="connsiteY146" fmla="*/ 597663 h 1502547"/>
                <a:gd name="connsiteX147" fmla="*/ 358681 w 503848"/>
                <a:gd name="connsiteY147" fmla="*/ 594514 h 1502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503848" h="1502547">
                  <a:moveTo>
                    <a:pt x="4637" y="521636"/>
                  </a:moveTo>
                  <a:cubicBezTo>
                    <a:pt x="6886" y="523885"/>
                    <a:pt x="10935" y="523435"/>
                    <a:pt x="10935" y="523435"/>
                  </a:cubicBezTo>
                  <a:lnTo>
                    <a:pt x="42876" y="524335"/>
                  </a:lnTo>
                  <a:cubicBezTo>
                    <a:pt x="42876" y="527034"/>
                    <a:pt x="43325" y="528834"/>
                    <a:pt x="43325" y="529734"/>
                  </a:cubicBezTo>
                  <a:cubicBezTo>
                    <a:pt x="44225" y="538731"/>
                    <a:pt x="45125" y="549078"/>
                    <a:pt x="47374" y="558075"/>
                  </a:cubicBezTo>
                  <a:cubicBezTo>
                    <a:pt x="49624" y="567072"/>
                    <a:pt x="49174" y="572021"/>
                    <a:pt x="56821" y="578769"/>
                  </a:cubicBezTo>
                  <a:cubicBezTo>
                    <a:pt x="64469" y="585517"/>
                    <a:pt x="72117" y="595414"/>
                    <a:pt x="78415" y="600812"/>
                  </a:cubicBezTo>
                  <a:cubicBezTo>
                    <a:pt x="84713" y="606210"/>
                    <a:pt x="87862" y="606210"/>
                    <a:pt x="88312" y="608010"/>
                  </a:cubicBezTo>
                  <a:cubicBezTo>
                    <a:pt x="88762" y="609809"/>
                    <a:pt x="102258" y="617007"/>
                    <a:pt x="108106" y="617457"/>
                  </a:cubicBezTo>
                  <a:cubicBezTo>
                    <a:pt x="109455" y="617457"/>
                    <a:pt x="111255" y="617007"/>
                    <a:pt x="113954" y="616557"/>
                  </a:cubicBezTo>
                  <a:cubicBezTo>
                    <a:pt x="109006" y="621506"/>
                    <a:pt x="102258" y="630053"/>
                    <a:pt x="103157" y="638151"/>
                  </a:cubicBezTo>
                  <a:cubicBezTo>
                    <a:pt x="104507" y="649847"/>
                    <a:pt x="95960" y="661094"/>
                    <a:pt x="86962" y="682687"/>
                  </a:cubicBezTo>
                  <a:cubicBezTo>
                    <a:pt x="77965" y="704281"/>
                    <a:pt x="76615" y="770411"/>
                    <a:pt x="76615" y="806850"/>
                  </a:cubicBezTo>
                  <a:cubicBezTo>
                    <a:pt x="80214" y="821695"/>
                    <a:pt x="83813" y="826644"/>
                    <a:pt x="83363" y="852736"/>
                  </a:cubicBezTo>
                  <a:cubicBezTo>
                    <a:pt x="83363" y="852736"/>
                    <a:pt x="85613" y="938210"/>
                    <a:pt x="92810" y="984097"/>
                  </a:cubicBezTo>
                  <a:cubicBezTo>
                    <a:pt x="100008" y="1029983"/>
                    <a:pt x="104057" y="1053376"/>
                    <a:pt x="104057" y="1063723"/>
                  </a:cubicBezTo>
                  <a:cubicBezTo>
                    <a:pt x="104057" y="1074070"/>
                    <a:pt x="104057" y="1095663"/>
                    <a:pt x="106306" y="1098362"/>
                  </a:cubicBezTo>
                  <a:cubicBezTo>
                    <a:pt x="108556" y="1101511"/>
                    <a:pt x="109905" y="1105560"/>
                    <a:pt x="107656" y="1116807"/>
                  </a:cubicBezTo>
                  <a:cubicBezTo>
                    <a:pt x="105407" y="1128053"/>
                    <a:pt x="106306" y="1141999"/>
                    <a:pt x="105407" y="1167641"/>
                  </a:cubicBezTo>
                  <a:cubicBezTo>
                    <a:pt x="104507" y="1193284"/>
                    <a:pt x="103157" y="1230622"/>
                    <a:pt x="105407" y="1269761"/>
                  </a:cubicBezTo>
                  <a:cubicBezTo>
                    <a:pt x="107656" y="1308899"/>
                    <a:pt x="112605" y="1342189"/>
                    <a:pt x="115754" y="1362882"/>
                  </a:cubicBezTo>
                  <a:cubicBezTo>
                    <a:pt x="115754" y="1362882"/>
                    <a:pt x="121602" y="1374129"/>
                    <a:pt x="122502" y="1381327"/>
                  </a:cubicBezTo>
                  <a:cubicBezTo>
                    <a:pt x="123401" y="1388525"/>
                    <a:pt x="109905" y="1398422"/>
                    <a:pt x="104057" y="1412368"/>
                  </a:cubicBezTo>
                  <a:cubicBezTo>
                    <a:pt x="98209" y="1426314"/>
                    <a:pt x="100458" y="1439809"/>
                    <a:pt x="101808" y="1442059"/>
                  </a:cubicBezTo>
                  <a:cubicBezTo>
                    <a:pt x="103157" y="1444308"/>
                    <a:pt x="95060" y="1458254"/>
                    <a:pt x="86962" y="1459154"/>
                  </a:cubicBezTo>
                  <a:cubicBezTo>
                    <a:pt x="78865" y="1460053"/>
                    <a:pt x="59521" y="1460053"/>
                    <a:pt x="53672" y="1466351"/>
                  </a:cubicBezTo>
                  <a:cubicBezTo>
                    <a:pt x="47824" y="1473099"/>
                    <a:pt x="47824" y="1477598"/>
                    <a:pt x="47824" y="1477598"/>
                  </a:cubicBezTo>
                  <a:cubicBezTo>
                    <a:pt x="47824" y="1477598"/>
                    <a:pt x="37477" y="1480747"/>
                    <a:pt x="43325" y="1485696"/>
                  </a:cubicBezTo>
                  <a:cubicBezTo>
                    <a:pt x="49174" y="1490644"/>
                    <a:pt x="68968" y="1497392"/>
                    <a:pt x="75716" y="1497392"/>
                  </a:cubicBezTo>
                  <a:cubicBezTo>
                    <a:pt x="82464" y="1497392"/>
                    <a:pt x="198979" y="1497392"/>
                    <a:pt x="198979" y="1497392"/>
                  </a:cubicBezTo>
                  <a:lnTo>
                    <a:pt x="207976" y="1496043"/>
                  </a:lnTo>
                  <a:lnTo>
                    <a:pt x="207076" y="1473099"/>
                  </a:lnTo>
                  <a:cubicBezTo>
                    <a:pt x="207076" y="1473099"/>
                    <a:pt x="203927" y="1470850"/>
                    <a:pt x="204827" y="1461403"/>
                  </a:cubicBezTo>
                  <a:cubicBezTo>
                    <a:pt x="205727" y="1456454"/>
                    <a:pt x="208875" y="1451506"/>
                    <a:pt x="211125" y="1445208"/>
                  </a:cubicBezTo>
                  <a:cubicBezTo>
                    <a:pt x="213374" y="1440709"/>
                    <a:pt x="215174" y="1435761"/>
                    <a:pt x="215623" y="1430362"/>
                  </a:cubicBezTo>
                  <a:cubicBezTo>
                    <a:pt x="216073" y="1427663"/>
                    <a:pt x="216523" y="1424514"/>
                    <a:pt x="216973" y="1421365"/>
                  </a:cubicBezTo>
                  <a:cubicBezTo>
                    <a:pt x="216973" y="1418666"/>
                    <a:pt x="216973" y="1415517"/>
                    <a:pt x="216523" y="1412368"/>
                  </a:cubicBezTo>
                  <a:cubicBezTo>
                    <a:pt x="216973" y="1402021"/>
                    <a:pt x="216523" y="1391224"/>
                    <a:pt x="214274" y="1383576"/>
                  </a:cubicBezTo>
                  <a:cubicBezTo>
                    <a:pt x="212924" y="1378628"/>
                    <a:pt x="210225" y="1370980"/>
                    <a:pt x="207976" y="1361083"/>
                  </a:cubicBezTo>
                  <a:cubicBezTo>
                    <a:pt x="206176" y="1350736"/>
                    <a:pt x="204827" y="1340839"/>
                    <a:pt x="204827" y="1332742"/>
                  </a:cubicBezTo>
                  <a:cubicBezTo>
                    <a:pt x="204827" y="1321945"/>
                    <a:pt x="208426" y="1304400"/>
                    <a:pt x="212475" y="1282807"/>
                  </a:cubicBezTo>
                  <a:cubicBezTo>
                    <a:pt x="218323" y="1254915"/>
                    <a:pt x="224171" y="1220276"/>
                    <a:pt x="223271" y="1189685"/>
                  </a:cubicBezTo>
                  <a:cubicBezTo>
                    <a:pt x="222371" y="1147398"/>
                    <a:pt x="223271" y="1113658"/>
                    <a:pt x="225520" y="1070021"/>
                  </a:cubicBezTo>
                  <a:cubicBezTo>
                    <a:pt x="226870" y="1040780"/>
                    <a:pt x="234968" y="958454"/>
                    <a:pt x="243065" y="899072"/>
                  </a:cubicBezTo>
                  <a:cubicBezTo>
                    <a:pt x="248014" y="872080"/>
                    <a:pt x="253412" y="845538"/>
                    <a:pt x="255212" y="838340"/>
                  </a:cubicBezTo>
                  <a:cubicBezTo>
                    <a:pt x="254762" y="839690"/>
                    <a:pt x="254312" y="841040"/>
                    <a:pt x="253412" y="843289"/>
                  </a:cubicBezTo>
                  <a:cubicBezTo>
                    <a:pt x="253862" y="841040"/>
                    <a:pt x="254762" y="839240"/>
                    <a:pt x="255212" y="837891"/>
                  </a:cubicBezTo>
                  <a:cubicBezTo>
                    <a:pt x="255212" y="837891"/>
                    <a:pt x="255212" y="838340"/>
                    <a:pt x="255212" y="838340"/>
                  </a:cubicBezTo>
                  <a:cubicBezTo>
                    <a:pt x="255212" y="837891"/>
                    <a:pt x="255212" y="837891"/>
                    <a:pt x="255212" y="837441"/>
                  </a:cubicBezTo>
                  <a:cubicBezTo>
                    <a:pt x="255212" y="836991"/>
                    <a:pt x="255661" y="836991"/>
                    <a:pt x="255661" y="836541"/>
                  </a:cubicBezTo>
                  <a:cubicBezTo>
                    <a:pt x="255661" y="836541"/>
                    <a:pt x="255661" y="836541"/>
                    <a:pt x="255661" y="836541"/>
                  </a:cubicBezTo>
                  <a:cubicBezTo>
                    <a:pt x="255661" y="836541"/>
                    <a:pt x="255661" y="836541"/>
                    <a:pt x="255661" y="836541"/>
                  </a:cubicBezTo>
                  <a:cubicBezTo>
                    <a:pt x="255661" y="836541"/>
                    <a:pt x="255661" y="836541"/>
                    <a:pt x="255661" y="836541"/>
                  </a:cubicBezTo>
                  <a:cubicBezTo>
                    <a:pt x="255661" y="836541"/>
                    <a:pt x="255661" y="836541"/>
                    <a:pt x="255661" y="836541"/>
                  </a:cubicBezTo>
                  <a:cubicBezTo>
                    <a:pt x="256111" y="836991"/>
                    <a:pt x="258811" y="840140"/>
                    <a:pt x="265108" y="871181"/>
                  </a:cubicBezTo>
                  <a:cubicBezTo>
                    <a:pt x="268708" y="904021"/>
                    <a:pt x="278604" y="968801"/>
                    <a:pt x="281304" y="977798"/>
                  </a:cubicBezTo>
                  <a:cubicBezTo>
                    <a:pt x="283103" y="983197"/>
                    <a:pt x="286702" y="993544"/>
                    <a:pt x="290301" y="1006140"/>
                  </a:cubicBezTo>
                  <a:cubicBezTo>
                    <a:pt x="290751" y="1007489"/>
                    <a:pt x="290751" y="1008839"/>
                    <a:pt x="291201" y="1010639"/>
                  </a:cubicBezTo>
                  <a:cubicBezTo>
                    <a:pt x="293000" y="1017837"/>
                    <a:pt x="294800" y="1027733"/>
                    <a:pt x="296599" y="1039430"/>
                  </a:cubicBezTo>
                  <a:cubicBezTo>
                    <a:pt x="296599" y="1039880"/>
                    <a:pt x="296599" y="1039880"/>
                    <a:pt x="296599" y="1040330"/>
                  </a:cubicBezTo>
                  <a:cubicBezTo>
                    <a:pt x="298848" y="1065972"/>
                    <a:pt x="311445" y="1146048"/>
                    <a:pt x="315044" y="1173939"/>
                  </a:cubicBezTo>
                  <a:cubicBezTo>
                    <a:pt x="318642" y="1201831"/>
                    <a:pt x="322241" y="1263462"/>
                    <a:pt x="322241" y="1285506"/>
                  </a:cubicBezTo>
                  <a:cubicBezTo>
                    <a:pt x="322241" y="1295853"/>
                    <a:pt x="324041" y="1316546"/>
                    <a:pt x="326290" y="1337690"/>
                  </a:cubicBezTo>
                  <a:cubicBezTo>
                    <a:pt x="328090" y="1362882"/>
                    <a:pt x="330339" y="1385376"/>
                    <a:pt x="333938" y="1395723"/>
                  </a:cubicBezTo>
                  <a:cubicBezTo>
                    <a:pt x="337537" y="1411918"/>
                    <a:pt x="343835" y="1419566"/>
                    <a:pt x="344735" y="1429463"/>
                  </a:cubicBezTo>
                  <a:cubicBezTo>
                    <a:pt x="344735" y="1430362"/>
                    <a:pt x="344735" y="1431262"/>
                    <a:pt x="344735" y="1432162"/>
                  </a:cubicBezTo>
                  <a:cubicBezTo>
                    <a:pt x="344735" y="1440709"/>
                    <a:pt x="344285" y="1442509"/>
                    <a:pt x="346984" y="1446107"/>
                  </a:cubicBezTo>
                  <a:cubicBezTo>
                    <a:pt x="347884" y="1447457"/>
                    <a:pt x="348783" y="1448807"/>
                    <a:pt x="350133" y="1449707"/>
                  </a:cubicBezTo>
                  <a:cubicBezTo>
                    <a:pt x="355081" y="1455555"/>
                    <a:pt x="362729" y="1460953"/>
                    <a:pt x="364529" y="1465002"/>
                  </a:cubicBezTo>
                  <a:cubicBezTo>
                    <a:pt x="364529" y="1467251"/>
                    <a:pt x="364079" y="1470400"/>
                    <a:pt x="363629" y="1473549"/>
                  </a:cubicBezTo>
                  <a:cubicBezTo>
                    <a:pt x="362279" y="1478048"/>
                    <a:pt x="360930" y="1483446"/>
                    <a:pt x="361829" y="1487045"/>
                  </a:cubicBezTo>
                  <a:cubicBezTo>
                    <a:pt x="361380" y="1491544"/>
                    <a:pt x="363179" y="1500991"/>
                    <a:pt x="363179" y="1500991"/>
                  </a:cubicBezTo>
                  <a:cubicBezTo>
                    <a:pt x="363179" y="1500991"/>
                    <a:pt x="436507" y="1501891"/>
                    <a:pt x="452702" y="1501891"/>
                  </a:cubicBezTo>
                  <a:cubicBezTo>
                    <a:pt x="468897" y="1501891"/>
                    <a:pt x="488691" y="1501891"/>
                    <a:pt x="474296" y="1469950"/>
                  </a:cubicBezTo>
                  <a:cubicBezTo>
                    <a:pt x="474296" y="1469950"/>
                    <a:pt x="466198" y="1462752"/>
                    <a:pt x="462599" y="1455105"/>
                  </a:cubicBezTo>
                  <a:cubicBezTo>
                    <a:pt x="459000" y="1447907"/>
                    <a:pt x="453602" y="1440259"/>
                    <a:pt x="453602" y="1438010"/>
                  </a:cubicBezTo>
                  <a:cubicBezTo>
                    <a:pt x="453602" y="1435761"/>
                    <a:pt x="454951" y="1410118"/>
                    <a:pt x="452702" y="1403820"/>
                  </a:cubicBezTo>
                  <a:cubicBezTo>
                    <a:pt x="450453" y="1397972"/>
                    <a:pt x="439206" y="1388525"/>
                    <a:pt x="435607" y="1375029"/>
                  </a:cubicBezTo>
                  <a:cubicBezTo>
                    <a:pt x="432008" y="1361533"/>
                    <a:pt x="446854" y="1267961"/>
                    <a:pt x="443705" y="1258514"/>
                  </a:cubicBezTo>
                  <a:cubicBezTo>
                    <a:pt x="440556" y="1249067"/>
                    <a:pt x="421662" y="1159544"/>
                    <a:pt x="419862" y="1103311"/>
                  </a:cubicBezTo>
                  <a:cubicBezTo>
                    <a:pt x="418512" y="1047078"/>
                    <a:pt x="419862" y="900872"/>
                    <a:pt x="422111" y="856785"/>
                  </a:cubicBezTo>
                  <a:cubicBezTo>
                    <a:pt x="424361" y="812248"/>
                    <a:pt x="425260" y="731273"/>
                    <a:pt x="405916" y="688985"/>
                  </a:cubicBezTo>
                  <a:cubicBezTo>
                    <a:pt x="386572" y="646698"/>
                    <a:pt x="376225" y="637251"/>
                    <a:pt x="374876" y="629153"/>
                  </a:cubicBezTo>
                  <a:cubicBezTo>
                    <a:pt x="373526" y="621056"/>
                    <a:pt x="369927" y="607560"/>
                    <a:pt x="369927" y="607560"/>
                  </a:cubicBezTo>
                  <a:lnTo>
                    <a:pt x="369027" y="606660"/>
                  </a:lnTo>
                  <a:lnTo>
                    <a:pt x="369027" y="605760"/>
                  </a:lnTo>
                  <a:cubicBezTo>
                    <a:pt x="373976" y="608910"/>
                    <a:pt x="374426" y="608460"/>
                    <a:pt x="375775" y="611159"/>
                  </a:cubicBezTo>
                  <a:cubicBezTo>
                    <a:pt x="376675" y="613858"/>
                    <a:pt x="373526" y="620156"/>
                    <a:pt x="375775" y="621056"/>
                  </a:cubicBezTo>
                  <a:cubicBezTo>
                    <a:pt x="378025" y="621956"/>
                    <a:pt x="388371" y="628254"/>
                    <a:pt x="391970" y="614308"/>
                  </a:cubicBezTo>
                  <a:cubicBezTo>
                    <a:pt x="395119" y="600362"/>
                    <a:pt x="387922" y="589565"/>
                    <a:pt x="375775" y="576070"/>
                  </a:cubicBezTo>
                  <a:cubicBezTo>
                    <a:pt x="363629" y="562574"/>
                    <a:pt x="366328" y="561674"/>
                    <a:pt x="366778" y="554026"/>
                  </a:cubicBezTo>
                  <a:cubicBezTo>
                    <a:pt x="367228" y="546378"/>
                    <a:pt x="369027" y="540080"/>
                    <a:pt x="369927" y="537381"/>
                  </a:cubicBezTo>
                  <a:cubicBezTo>
                    <a:pt x="369927" y="537381"/>
                    <a:pt x="369927" y="537381"/>
                    <a:pt x="369927" y="536931"/>
                  </a:cubicBezTo>
                  <a:cubicBezTo>
                    <a:pt x="370827" y="536931"/>
                    <a:pt x="371277" y="536931"/>
                    <a:pt x="371726" y="536931"/>
                  </a:cubicBezTo>
                  <a:cubicBezTo>
                    <a:pt x="374876" y="537831"/>
                    <a:pt x="381624" y="542779"/>
                    <a:pt x="389721" y="542779"/>
                  </a:cubicBezTo>
                  <a:cubicBezTo>
                    <a:pt x="400068" y="542779"/>
                    <a:pt x="418512" y="540530"/>
                    <a:pt x="423011" y="543229"/>
                  </a:cubicBezTo>
                  <a:cubicBezTo>
                    <a:pt x="427510" y="545929"/>
                    <a:pt x="444605" y="557625"/>
                    <a:pt x="450903" y="557625"/>
                  </a:cubicBezTo>
                  <a:cubicBezTo>
                    <a:pt x="457201" y="557625"/>
                    <a:pt x="483743" y="543679"/>
                    <a:pt x="489141" y="540980"/>
                  </a:cubicBezTo>
                  <a:cubicBezTo>
                    <a:pt x="494539" y="538281"/>
                    <a:pt x="503987" y="525685"/>
                    <a:pt x="504436" y="518487"/>
                  </a:cubicBezTo>
                  <a:cubicBezTo>
                    <a:pt x="504887" y="511289"/>
                    <a:pt x="485092" y="466302"/>
                    <a:pt x="481943" y="454156"/>
                  </a:cubicBezTo>
                  <a:cubicBezTo>
                    <a:pt x="478794" y="442010"/>
                    <a:pt x="484193" y="441560"/>
                    <a:pt x="469797" y="420416"/>
                  </a:cubicBezTo>
                  <a:cubicBezTo>
                    <a:pt x="455401" y="399273"/>
                    <a:pt x="449103" y="384877"/>
                    <a:pt x="441905" y="372731"/>
                  </a:cubicBezTo>
                  <a:cubicBezTo>
                    <a:pt x="434707" y="360584"/>
                    <a:pt x="431558" y="353836"/>
                    <a:pt x="430659" y="349338"/>
                  </a:cubicBezTo>
                  <a:cubicBezTo>
                    <a:pt x="430209" y="344839"/>
                    <a:pt x="421212" y="332243"/>
                    <a:pt x="418512" y="325945"/>
                  </a:cubicBezTo>
                  <a:cubicBezTo>
                    <a:pt x="415813" y="319647"/>
                    <a:pt x="416713" y="316498"/>
                    <a:pt x="413114" y="308400"/>
                  </a:cubicBezTo>
                  <a:cubicBezTo>
                    <a:pt x="409065" y="300303"/>
                    <a:pt x="400968" y="287706"/>
                    <a:pt x="373076" y="275110"/>
                  </a:cubicBezTo>
                  <a:cubicBezTo>
                    <a:pt x="345185" y="262514"/>
                    <a:pt x="325840" y="268812"/>
                    <a:pt x="315044" y="263414"/>
                  </a:cubicBezTo>
                  <a:cubicBezTo>
                    <a:pt x="303797" y="258015"/>
                    <a:pt x="293900" y="248568"/>
                    <a:pt x="286252" y="244969"/>
                  </a:cubicBezTo>
                  <a:cubicBezTo>
                    <a:pt x="279954" y="242270"/>
                    <a:pt x="276355" y="241820"/>
                    <a:pt x="273656" y="240021"/>
                  </a:cubicBezTo>
                  <a:cubicBezTo>
                    <a:pt x="272756" y="239121"/>
                    <a:pt x="271856" y="238221"/>
                    <a:pt x="271407" y="238221"/>
                  </a:cubicBezTo>
                  <a:cubicBezTo>
                    <a:pt x="268258" y="235072"/>
                    <a:pt x="263759" y="221126"/>
                    <a:pt x="261060" y="215728"/>
                  </a:cubicBezTo>
                  <a:cubicBezTo>
                    <a:pt x="258361" y="210330"/>
                    <a:pt x="256561" y="206281"/>
                    <a:pt x="256561" y="206281"/>
                  </a:cubicBezTo>
                  <a:cubicBezTo>
                    <a:pt x="256561" y="206281"/>
                    <a:pt x="252063" y="208080"/>
                    <a:pt x="253412" y="184687"/>
                  </a:cubicBezTo>
                  <a:cubicBezTo>
                    <a:pt x="253412" y="184687"/>
                    <a:pt x="254762" y="174341"/>
                    <a:pt x="254762" y="167593"/>
                  </a:cubicBezTo>
                  <a:cubicBezTo>
                    <a:pt x="254762" y="160845"/>
                    <a:pt x="253412" y="154996"/>
                    <a:pt x="256111" y="151397"/>
                  </a:cubicBezTo>
                  <a:cubicBezTo>
                    <a:pt x="259260" y="147798"/>
                    <a:pt x="259710" y="144200"/>
                    <a:pt x="265108" y="137452"/>
                  </a:cubicBezTo>
                  <a:cubicBezTo>
                    <a:pt x="270057" y="130704"/>
                    <a:pt x="273656" y="107311"/>
                    <a:pt x="270957" y="104161"/>
                  </a:cubicBezTo>
                  <a:cubicBezTo>
                    <a:pt x="267358" y="99213"/>
                    <a:pt x="263759" y="105061"/>
                    <a:pt x="263759" y="101912"/>
                  </a:cubicBezTo>
                  <a:cubicBezTo>
                    <a:pt x="263759" y="98763"/>
                    <a:pt x="266008" y="51527"/>
                    <a:pt x="262409" y="45679"/>
                  </a:cubicBezTo>
                  <a:cubicBezTo>
                    <a:pt x="258811" y="39831"/>
                    <a:pt x="231369" y="10140"/>
                    <a:pt x="222371" y="6541"/>
                  </a:cubicBezTo>
                  <a:cubicBezTo>
                    <a:pt x="213374" y="2942"/>
                    <a:pt x="198529" y="3392"/>
                    <a:pt x="198529" y="3392"/>
                  </a:cubicBezTo>
                  <a:cubicBezTo>
                    <a:pt x="177835" y="5641"/>
                    <a:pt x="160290" y="10590"/>
                    <a:pt x="154892" y="18687"/>
                  </a:cubicBezTo>
                  <a:cubicBezTo>
                    <a:pt x="149494" y="26785"/>
                    <a:pt x="135098" y="38031"/>
                    <a:pt x="132848" y="43880"/>
                  </a:cubicBezTo>
                  <a:cubicBezTo>
                    <a:pt x="130599" y="49728"/>
                    <a:pt x="126101" y="81668"/>
                    <a:pt x="132848" y="99213"/>
                  </a:cubicBezTo>
                  <a:lnTo>
                    <a:pt x="134198" y="107311"/>
                  </a:lnTo>
                  <a:cubicBezTo>
                    <a:pt x="131049" y="108210"/>
                    <a:pt x="129699" y="102812"/>
                    <a:pt x="126101" y="106411"/>
                  </a:cubicBezTo>
                  <a:cubicBezTo>
                    <a:pt x="122052" y="110460"/>
                    <a:pt x="126101" y="128454"/>
                    <a:pt x="128350" y="134302"/>
                  </a:cubicBezTo>
                  <a:cubicBezTo>
                    <a:pt x="130599" y="140151"/>
                    <a:pt x="138697" y="149148"/>
                    <a:pt x="143195" y="151397"/>
                  </a:cubicBezTo>
                  <a:cubicBezTo>
                    <a:pt x="147694" y="153647"/>
                    <a:pt x="147694" y="157245"/>
                    <a:pt x="148144" y="161744"/>
                  </a:cubicBezTo>
                  <a:cubicBezTo>
                    <a:pt x="149043" y="166243"/>
                    <a:pt x="150393" y="184687"/>
                    <a:pt x="162090" y="206281"/>
                  </a:cubicBezTo>
                  <a:cubicBezTo>
                    <a:pt x="162090" y="206281"/>
                    <a:pt x="163439" y="211229"/>
                    <a:pt x="163439" y="214378"/>
                  </a:cubicBezTo>
                  <a:cubicBezTo>
                    <a:pt x="163439" y="214828"/>
                    <a:pt x="159840" y="212129"/>
                    <a:pt x="158941" y="210779"/>
                  </a:cubicBezTo>
                  <a:cubicBezTo>
                    <a:pt x="158041" y="215278"/>
                    <a:pt x="152193" y="229674"/>
                    <a:pt x="151293" y="232373"/>
                  </a:cubicBezTo>
                  <a:cubicBezTo>
                    <a:pt x="150393" y="235522"/>
                    <a:pt x="132398" y="237771"/>
                    <a:pt x="127900" y="244519"/>
                  </a:cubicBezTo>
                  <a:cubicBezTo>
                    <a:pt x="123401" y="251267"/>
                    <a:pt x="83813" y="264313"/>
                    <a:pt x="62669" y="280059"/>
                  </a:cubicBezTo>
                  <a:cubicBezTo>
                    <a:pt x="62669" y="280059"/>
                    <a:pt x="41976" y="292655"/>
                    <a:pt x="39277" y="298953"/>
                  </a:cubicBezTo>
                  <a:cubicBezTo>
                    <a:pt x="37477" y="302552"/>
                    <a:pt x="36128" y="309750"/>
                    <a:pt x="35678" y="315598"/>
                  </a:cubicBezTo>
                  <a:cubicBezTo>
                    <a:pt x="20382" y="316048"/>
                    <a:pt x="10935" y="316498"/>
                    <a:pt x="10935" y="316498"/>
                  </a:cubicBezTo>
                  <a:cubicBezTo>
                    <a:pt x="3288" y="319197"/>
                    <a:pt x="4637" y="325945"/>
                    <a:pt x="4637" y="325945"/>
                  </a:cubicBezTo>
                  <a:lnTo>
                    <a:pt x="8686" y="507240"/>
                  </a:lnTo>
                  <a:cubicBezTo>
                    <a:pt x="8686" y="507240"/>
                    <a:pt x="6436" y="513538"/>
                    <a:pt x="4187" y="516238"/>
                  </a:cubicBezTo>
                  <a:cubicBezTo>
                    <a:pt x="3737" y="516687"/>
                    <a:pt x="2388" y="519386"/>
                    <a:pt x="4637" y="521636"/>
                  </a:cubicBezTo>
                  <a:close/>
                  <a:moveTo>
                    <a:pt x="358681" y="594514"/>
                  </a:moveTo>
                  <a:cubicBezTo>
                    <a:pt x="360930" y="594514"/>
                    <a:pt x="364079" y="599463"/>
                    <a:pt x="369027" y="602611"/>
                  </a:cubicBezTo>
                  <a:lnTo>
                    <a:pt x="360030" y="596313"/>
                  </a:lnTo>
                  <a:cubicBezTo>
                    <a:pt x="360030" y="596313"/>
                    <a:pt x="356881" y="596313"/>
                    <a:pt x="351933" y="596763"/>
                  </a:cubicBezTo>
                  <a:cubicBezTo>
                    <a:pt x="347884" y="597213"/>
                    <a:pt x="342035" y="597213"/>
                    <a:pt x="335288" y="597663"/>
                  </a:cubicBezTo>
                  <a:cubicBezTo>
                    <a:pt x="349233" y="595863"/>
                    <a:pt x="357331" y="594514"/>
                    <a:pt x="358681" y="594514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99C00228-AFCA-4A95-96A2-BE308A18254E}"/>
                </a:ext>
              </a:extLst>
            </p:cNvPr>
            <p:cNvSpPr/>
            <p:nvPr/>
          </p:nvSpPr>
          <p:spPr>
            <a:xfrm>
              <a:off x="4130286" y="4792149"/>
              <a:ext cx="459069" cy="1581235"/>
            </a:xfrm>
            <a:custGeom>
              <a:avLst/>
              <a:gdLst>
                <a:gd name="connsiteX0" fmla="*/ 380378 w 404878"/>
                <a:gd name="connsiteY0" fmla="*/ 1245514 h 1394580"/>
                <a:gd name="connsiteX1" fmla="*/ 379928 w 404878"/>
                <a:gd name="connsiteY1" fmla="*/ 1175785 h 1394580"/>
                <a:gd name="connsiteX2" fmla="*/ 368232 w 404878"/>
                <a:gd name="connsiteY2" fmla="*/ 978295 h 1394580"/>
                <a:gd name="connsiteX3" fmla="*/ 351587 w 404878"/>
                <a:gd name="connsiteY3" fmla="*/ 891920 h 1394580"/>
                <a:gd name="connsiteX4" fmla="*/ 356086 w 404878"/>
                <a:gd name="connsiteY4" fmla="*/ 802847 h 1394580"/>
                <a:gd name="connsiteX5" fmla="*/ 364633 w 404878"/>
                <a:gd name="connsiteY5" fmla="*/ 799698 h 1394580"/>
                <a:gd name="connsiteX6" fmla="*/ 382177 w 404878"/>
                <a:gd name="connsiteY6" fmla="*/ 669687 h 1394580"/>
                <a:gd name="connsiteX7" fmla="*/ 381728 w 404878"/>
                <a:gd name="connsiteY7" fmla="*/ 669687 h 1394580"/>
                <a:gd name="connsiteX8" fmla="*/ 385327 w 404878"/>
                <a:gd name="connsiteY8" fmla="*/ 626950 h 1394580"/>
                <a:gd name="connsiteX9" fmla="*/ 388476 w 404878"/>
                <a:gd name="connsiteY9" fmla="*/ 611205 h 1394580"/>
                <a:gd name="connsiteX10" fmla="*/ 383527 w 404878"/>
                <a:gd name="connsiteY10" fmla="*/ 587812 h 1394580"/>
                <a:gd name="connsiteX11" fmla="*/ 385327 w 404878"/>
                <a:gd name="connsiteY11" fmla="*/ 591861 h 1394580"/>
                <a:gd name="connsiteX12" fmla="*/ 374980 w 404878"/>
                <a:gd name="connsiteY12" fmla="*/ 522582 h 1394580"/>
                <a:gd name="connsiteX13" fmla="*/ 366883 w 404878"/>
                <a:gd name="connsiteY13" fmla="*/ 460500 h 1394580"/>
                <a:gd name="connsiteX14" fmla="*/ 357435 w 404878"/>
                <a:gd name="connsiteY14" fmla="*/ 448354 h 1394580"/>
                <a:gd name="connsiteX15" fmla="*/ 362834 w 404878"/>
                <a:gd name="connsiteY15" fmla="*/ 410116 h 1394580"/>
                <a:gd name="connsiteX16" fmla="*/ 363283 w 404878"/>
                <a:gd name="connsiteY16" fmla="*/ 378625 h 1394580"/>
                <a:gd name="connsiteX17" fmla="*/ 367782 w 404878"/>
                <a:gd name="connsiteY17" fmla="*/ 344435 h 1394580"/>
                <a:gd name="connsiteX18" fmla="*/ 334492 w 404878"/>
                <a:gd name="connsiteY18" fmla="*/ 199579 h 1394580"/>
                <a:gd name="connsiteX19" fmla="*/ 319647 w 404878"/>
                <a:gd name="connsiteY19" fmla="*/ 201828 h 1394580"/>
                <a:gd name="connsiteX20" fmla="*/ 307950 w 404878"/>
                <a:gd name="connsiteY20" fmla="*/ 200029 h 1394580"/>
                <a:gd name="connsiteX21" fmla="*/ 290855 w 404878"/>
                <a:gd name="connsiteY21" fmla="*/ 187433 h 1394580"/>
                <a:gd name="connsiteX22" fmla="*/ 291755 w 404878"/>
                <a:gd name="connsiteY22" fmla="*/ 179785 h 1394580"/>
                <a:gd name="connsiteX23" fmla="*/ 300302 w 404878"/>
                <a:gd name="connsiteY23" fmla="*/ 178435 h 1394580"/>
                <a:gd name="connsiteX24" fmla="*/ 311999 w 404878"/>
                <a:gd name="connsiteY24" fmla="*/ 169438 h 1394580"/>
                <a:gd name="connsiteX25" fmla="*/ 323695 w 404878"/>
                <a:gd name="connsiteY25" fmla="*/ 163590 h 1394580"/>
                <a:gd name="connsiteX26" fmla="*/ 335392 w 404878"/>
                <a:gd name="connsiteY26" fmla="*/ 150994 h 1394580"/>
                <a:gd name="connsiteX27" fmla="*/ 352487 w 404878"/>
                <a:gd name="connsiteY27" fmla="*/ 53823 h 1394580"/>
                <a:gd name="connsiteX28" fmla="*/ 309300 w 404878"/>
                <a:gd name="connsiteY28" fmla="*/ 12435 h 1394580"/>
                <a:gd name="connsiteX29" fmla="*/ 290855 w 404878"/>
                <a:gd name="connsiteY29" fmla="*/ 8386 h 1394580"/>
                <a:gd name="connsiteX30" fmla="*/ 239571 w 404878"/>
                <a:gd name="connsiteY30" fmla="*/ 3888 h 1394580"/>
                <a:gd name="connsiteX31" fmla="*/ 184687 w 404878"/>
                <a:gd name="connsiteY31" fmla="*/ 42576 h 1394580"/>
                <a:gd name="connsiteX32" fmla="*/ 171191 w 404878"/>
                <a:gd name="connsiteY32" fmla="*/ 98359 h 1394580"/>
                <a:gd name="connsiteX33" fmla="*/ 175240 w 404878"/>
                <a:gd name="connsiteY33" fmla="*/ 117704 h 1394580"/>
                <a:gd name="connsiteX34" fmla="*/ 175690 w 404878"/>
                <a:gd name="connsiteY34" fmla="*/ 135698 h 1394580"/>
                <a:gd name="connsiteX35" fmla="*/ 182438 w 404878"/>
                <a:gd name="connsiteY35" fmla="*/ 168088 h 1394580"/>
                <a:gd name="connsiteX36" fmla="*/ 184237 w 404878"/>
                <a:gd name="connsiteY36" fmla="*/ 182034 h 1394580"/>
                <a:gd name="connsiteX37" fmla="*/ 210779 w 404878"/>
                <a:gd name="connsiteY37" fmla="*/ 196880 h 1394580"/>
                <a:gd name="connsiteX38" fmla="*/ 222476 w 404878"/>
                <a:gd name="connsiteY38" fmla="*/ 212175 h 1394580"/>
                <a:gd name="connsiteX39" fmla="*/ 217527 w 404878"/>
                <a:gd name="connsiteY39" fmla="*/ 240067 h 1394580"/>
                <a:gd name="connsiteX40" fmla="*/ 171641 w 404878"/>
                <a:gd name="connsiteY40" fmla="*/ 263460 h 1394580"/>
                <a:gd name="connsiteX41" fmla="*/ 145549 w 404878"/>
                <a:gd name="connsiteY41" fmla="*/ 303498 h 1394580"/>
                <a:gd name="connsiteX42" fmla="*/ 135202 w 404878"/>
                <a:gd name="connsiteY42" fmla="*/ 348934 h 1394580"/>
                <a:gd name="connsiteX43" fmla="*/ 95614 w 404878"/>
                <a:gd name="connsiteY43" fmla="*/ 376376 h 1394580"/>
                <a:gd name="connsiteX44" fmla="*/ 11039 w 404878"/>
                <a:gd name="connsiteY44" fmla="*/ 344435 h 1394580"/>
                <a:gd name="connsiteX45" fmla="*/ 7890 w 404878"/>
                <a:gd name="connsiteY45" fmla="*/ 349834 h 1394580"/>
                <a:gd name="connsiteX46" fmla="*/ 1592 w 404878"/>
                <a:gd name="connsiteY46" fmla="*/ 349384 h 1394580"/>
                <a:gd name="connsiteX47" fmla="*/ 113159 w 404878"/>
                <a:gd name="connsiteY47" fmla="*/ 445205 h 1394580"/>
                <a:gd name="connsiteX48" fmla="*/ 109110 w 404878"/>
                <a:gd name="connsiteY48" fmla="*/ 457801 h 1394580"/>
                <a:gd name="connsiteX49" fmla="*/ 105511 w 404878"/>
                <a:gd name="connsiteY49" fmla="*/ 478045 h 1394580"/>
                <a:gd name="connsiteX50" fmla="*/ 112259 w 404878"/>
                <a:gd name="connsiteY50" fmla="*/ 501888 h 1394580"/>
                <a:gd name="connsiteX51" fmla="*/ 123956 w 404878"/>
                <a:gd name="connsiteY51" fmla="*/ 517633 h 1394580"/>
                <a:gd name="connsiteX52" fmla="*/ 137452 w 404878"/>
                <a:gd name="connsiteY52" fmla="*/ 515834 h 1394580"/>
                <a:gd name="connsiteX53" fmla="*/ 156346 w 404878"/>
                <a:gd name="connsiteY53" fmla="*/ 504137 h 1394580"/>
                <a:gd name="connsiteX54" fmla="*/ 159045 w 404878"/>
                <a:gd name="connsiteY54" fmla="*/ 487042 h 1394580"/>
                <a:gd name="connsiteX55" fmla="*/ 166693 w 404878"/>
                <a:gd name="connsiteY55" fmla="*/ 485693 h 1394580"/>
                <a:gd name="connsiteX56" fmla="*/ 167143 w 404878"/>
                <a:gd name="connsiteY56" fmla="*/ 486143 h 1394580"/>
                <a:gd name="connsiteX57" fmla="*/ 167143 w 404878"/>
                <a:gd name="connsiteY57" fmla="*/ 486593 h 1394580"/>
                <a:gd name="connsiteX58" fmla="*/ 169392 w 404878"/>
                <a:gd name="connsiteY58" fmla="*/ 497389 h 1394580"/>
                <a:gd name="connsiteX59" fmla="*/ 168942 w 404878"/>
                <a:gd name="connsiteY59" fmla="*/ 509536 h 1394580"/>
                <a:gd name="connsiteX60" fmla="*/ 163543 w 404878"/>
                <a:gd name="connsiteY60" fmla="*/ 518533 h 1394580"/>
                <a:gd name="connsiteX61" fmla="*/ 165793 w 404878"/>
                <a:gd name="connsiteY61" fmla="*/ 539677 h 1394580"/>
                <a:gd name="connsiteX62" fmla="*/ 153647 w 404878"/>
                <a:gd name="connsiteY62" fmla="*/ 584663 h 1394580"/>
                <a:gd name="connsiteX63" fmla="*/ 147348 w 404878"/>
                <a:gd name="connsiteY63" fmla="*/ 613904 h 1394580"/>
                <a:gd name="connsiteX64" fmla="*/ 150497 w 404878"/>
                <a:gd name="connsiteY64" fmla="*/ 613454 h 1394580"/>
                <a:gd name="connsiteX65" fmla="*/ 149598 w 404878"/>
                <a:gd name="connsiteY65" fmla="*/ 613904 h 1394580"/>
                <a:gd name="connsiteX66" fmla="*/ 145099 w 404878"/>
                <a:gd name="connsiteY66" fmla="*/ 678235 h 1394580"/>
                <a:gd name="connsiteX67" fmla="*/ 145099 w 404878"/>
                <a:gd name="connsiteY67" fmla="*/ 678235 h 1394580"/>
                <a:gd name="connsiteX68" fmla="*/ 143749 w 404878"/>
                <a:gd name="connsiteY68" fmla="*/ 720072 h 1394580"/>
                <a:gd name="connsiteX69" fmla="*/ 143300 w 404878"/>
                <a:gd name="connsiteY69" fmla="*/ 742565 h 1394580"/>
                <a:gd name="connsiteX70" fmla="*/ 141050 w 404878"/>
                <a:gd name="connsiteY70" fmla="*/ 770457 h 1394580"/>
                <a:gd name="connsiteX71" fmla="*/ 141950 w 404878"/>
                <a:gd name="connsiteY71" fmla="*/ 770457 h 1394580"/>
                <a:gd name="connsiteX72" fmla="*/ 137001 w 404878"/>
                <a:gd name="connsiteY72" fmla="*/ 814094 h 1394580"/>
                <a:gd name="connsiteX73" fmla="*/ 155896 w 404878"/>
                <a:gd name="connsiteY73" fmla="*/ 817243 h 1394580"/>
                <a:gd name="connsiteX74" fmla="*/ 158595 w 404878"/>
                <a:gd name="connsiteY74" fmla="*/ 817243 h 1394580"/>
                <a:gd name="connsiteX75" fmla="*/ 170741 w 404878"/>
                <a:gd name="connsiteY75" fmla="*/ 869427 h 1394580"/>
                <a:gd name="connsiteX76" fmla="*/ 194134 w 404878"/>
                <a:gd name="connsiteY76" fmla="*/ 952202 h 1394580"/>
                <a:gd name="connsiteX77" fmla="*/ 195934 w 404878"/>
                <a:gd name="connsiteY77" fmla="*/ 979194 h 1394580"/>
                <a:gd name="connsiteX78" fmla="*/ 204031 w 404878"/>
                <a:gd name="connsiteY78" fmla="*/ 1002587 h 1394580"/>
                <a:gd name="connsiteX79" fmla="*/ 208980 w 404878"/>
                <a:gd name="connsiteY79" fmla="*/ 1097509 h 1394580"/>
                <a:gd name="connsiteX80" fmla="*/ 229674 w 404878"/>
                <a:gd name="connsiteY80" fmla="*/ 1254061 h 1394580"/>
                <a:gd name="connsiteX81" fmla="*/ 209880 w 404878"/>
                <a:gd name="connsiteY81" fmla="*/ 1344934 h 1394580"/>
                <a:gd name="connsiteX82" fmla="*/ 180639 w 404878"/>
                <a:gd name="connsiteY82" fmla="*/ 1353931 h 1394580"/>
                <a:gd name="connsiteX83" fmla="*/ 165793 w 404878"/>
                <a:gd name="connsiteY83" fmla="*/ 1364278 h 1394580"/>
                <a:gd name="connsiteX84" fmla="*/ 195934 w 404878"/>
                <a:gd name="connsiteY84" fmla="*/ 1389471 h 1394580"/>
                <a:gd name="connsiteX85" fmla="*/ 246768 w 404878"/>
                <a:gd name="connsiteY85" fmla="*/ 1383173 h 1394580"/>
                <a:gd name="connsiteX86" fmla="*/ 273760 w 404878"/>
                <a:gd name="connsiteY86" fmla="*/ 1326040 h 1394580"/>
                <a:gd name="connsiteX87" fmla="*/ 290855 w 404878"/>
                <a:gd name="connsiteY87" fmla="*/ 1325590 h 1394580"/>
                <a:gd name="connsiteX88" fmla="*/ 293105 w 404878"/>
                <a:gd name="connsiteY88" fmla="*/ 1342235 h 1394580"/>
                <a:gd name="connsiteX89" fmla="*/ 293105 w 404878"/>
                <a:gd name="connsiteY89" fmla="*/ 1345834 h 1394580"/>
                <a:gd name="connsiteX90" fmla="*/ 269711 w 404878"/>
                <a:gd name="connsiteY90" fmla="*/ 1357081 h 1394580"/>
                <a:gd name="connsiteX91" fmla="*/ 267912 w 404878"/>
                <a:gd name="connsiteY91" fmla="*/ 1375075 h 1394580"/>
                <a:gd name="connsiteX92" fmla="*/ 277809 w 404878"/>
                <a:gd name="connsiteY92" fmla="*/ 1389021 h 1394580"/>
                <a:gd name="connsiteX93" fmla="*/ 357435 w 404878"/>
                <a:gd name="connsiteY93" fmla="*/ 1388571 h 1394580"/>
                <a:gd name="connsiteX94" fmla="*/ 364183 w 404878"/>
                <a:gd name="connsiteY94" fmla="*/ 1365178 h 1394580"/>
                <a:gd name="connsiteX95" fmla="*/ 377229 w 404878"/>
                <a:gd name="connsiteY95" fmla="*/ 1332788 h 1394580"/>
                <a:gd name="connsiteX96" fmla="*/ 385777 w 404878"/>
                <a:gd name="connsiteY96" fmla="*/ 1349883 h 1394580"/>
                <a:gd name="connsiteX97" fmla="*/ 388925 w 404878"/>
                <a:gd name="connsiteY97" fmla="*/ 1386772 h 1394580"/>
                <a:gd name="connsiteX98" fmla="*/ 395673 w 404878"/>
                <a:gd name="connsiteY98" fmla="*/ 1386322 h 1394580"/>
                <a:gd name="connsiteX99" fmla="*/ 407370 w 404878"/>
                <a:gd name="connsiteY99" fmla="*/ 1288251 h 1394580"/>
                <a:gd name="connsiteX100" fmla="*/ 380378 w 404878"/>
                <a:gd name="connsiteY100" fmla="*/ 1245514 h 1394580"/>
                <a:gd name="connsiteX101" fmla="*/ 332243 w 404878"/>
                <a:gd name="connsiteY101" fmla="*/ 1222571 h 1394580"/>
                <a:gd name="connsiteX102" fmla="*/ 325495 w 404878"/>
                <a:gd name="connsiteY102" fmla="*/ 1256311 h 1394580"/>
                <a:gd name="connsiteX103" fmla="*/ 320546 w 404878"/>
                <a:gd name="connsiteY103" fmla="*/ 1298598 h 1394580"/>
                <a:gd name="connsiteX104" fmla="*/ 305701 w 404878"/>
                <a:gd name="connsiteY104" fmla="*/ 1324240 h 1394580"/>
                <a:gd name="connsiteX105" fmla="*/ 307950 w 404878"/>
                <a:gd name="connsiteY105" fmla="*/ 1286002 h 1394580"/>
                <a:gd name="connsiteX106" fmla="*/ 288156 w 404878"/>
                <a:gd name="connsiteY106" fmla="*/ 1254061 h 1394580"/>
                <a:gd name="connsiteX107" fmla="*/ 278259 w 404878"/>
                <a:gd name="connsiteY107" fmla="*/ 1215373 h 1394580"/>
                <a:gd name="connsiteX108" fmla="*/ 278259 w 404878"/>
                <a:gd name="connsiteY108" fmla="*/ 1127650 h 1394580"/>
                <a:gd name="connsiteX109" fmla="*/ 285457 w 404878"/>
                <a:gd name="connsiteY109" fmla="*/ 1070517 h 1394580"/>
                <a:gd name="connsiteX110" fmla="*/ 281858 w 404878"/>
                <a:gd name="connsiteY110" fmla="*/ 1031378 h 1394580"/>
                <a:gd name="connsiteX111" fmla="*/ 273760 w 404878"/>
                <a:gd name="connsiteY111" fmla="*/ 991340 h 1394580"/>
                <a:gd name="connsiteX112" fmla="*/ 276010 w 404878"/>
                <a:gd name="connsiteY112" fmla="*/ 971097 h 1394580"/>
                <a:gd name="connsiteX113" fmla="*/ 294454 w 404878"/>
                <a:gd name="connsiteY113" fmla="*/ 1007086 h 1394580"/>
                <a:gd name="connsiteX114" fmla="*/ 316947 w 404878"/>
                <a:gd name="connsiteY114" fmla="*/ 1101108 h 1394580"/>
                <a:gd name="connsiteX115" fmla="*/ 332243 w 404878"/>
                <a:gd name="connsiteY115" fmla="*/ 1222571 h 1394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404878" h="1394580">
                  <a:moveTo>
                    <a:pt x="380378" y="1245514"/>
                  </a:moveTo>
                  <a:cubicBezTo>
                    <a:pt x="380378" y="1245514"/>
                    <a:pt x="373180" y="1228419"/>
                    <a:pt x="379928" y="1175785"/>
                  </a:cubicBezTo>
                  <a:cubicBezTo>
                    <a:pt x="386676" y="1123151"/>
                    <a:pt x="389826" y="1044874"/>
                    <a:pt x="368232" y="978295"/>
                  </a:cubicBezTo>
                  <a:cubicBezTo>
                    <a:pt x="346639" y="911265"/>
                    <a:pt x="350237" y="907216"/>
                    <a:pt x="351587" y="891920"/>
                  </a:cubicBezTo>
                  <a:cubicBezTo>
                    <a:pt x="352936" y="876625"/>
                    <a:pt x="355636" y="805546"/>
                    <a:pt x="356086" y="802847"/>
                  </a:cubicBezTo>
                  <a:cubicBezTo>
                    <a:pt x="359684" y="801948"/>
                    <a:pt x="362384" y="800598"/>
                    <a:pt x="364633" y="799698"/>
                  </a:cubicBezTo>
                  <a:cubicBezTo>
                    <a:pt x="364633" y="799698"/>
                    <a:pt x="378129" y="718723"/>
                    <a:pt x="382177" y="669687"/>
                  </a:cubicBezTo>
                  <a:cubicBezTo>
                    <a:pt x="382177" y="669687"/>
                    <a:pt x="382177" y="669687"/>
                    <a:pt x="381728" y="669687"/>
                  </a:cubicBezTo>
                  <a:cubicBezTo>
                    <a:pt x="383527" y="652593"/>
                    <a:pt x="385327" y="636847"/>
                    <a:pt x="385327" y="626950"/>
                  </a:cubicBezTo>
                  <a:cubicBezTo>
                    <a:pt x="385327" y="626950"/>
                    <a:pt x="389826" y="618403"/>
                    <a:pt x="388476" y="611205"/>
                  </a:cubicBezTo>
                  <a:cubicBezTo>
                    <a:pt x="387126" y="604007"/>
                    <a:pt x="383078" y="594560"/>
                    <a:pt x="383527" y="587812"/>
                  </a:cubicBezTo>
                  <a:cubicBezTo>
                    <a:pt x="383527" y="587812"/>
                    <a:pt x="383977" y="594560"/>
                    <a:pt x="385327" y="591861"/>
                  </a:cubicBezTo>
                  <a:cubicBezTo>
                    <a:pt x="386676" y="589611"/>
                    <a:pt x="380828" y="546425"/>
                    <a:pt x="374980" y="522582"/>
                  </a:cubicBezTo>
                  <a:cubicBezTo>
                    <a:pt x="368682" y="498739"/>
                    <a:pt x="366883" y="460500"/>
                    <a:pt x="366883" y="460500"/>
                  </a:cubicBezTo>
                  <a:cubicBezTo>
                    <a:pt x="365533" y="452853"/>
                    <a:pt x="355636" y="459151"/>
                    <a:pt x="357435" y="448354"/>
                  </a:cubicBezTo>
                  <a:cubicBezTo>
                    <a:pt x="359235" y="437557"/>
                    <a:pt x="362384" y="421362"/>
                    <a:pt x="362834" y="410116"/>
                  </a:cubicBezTo>
                  <a:cubicBezTo>
                    <a:pt x="363283" y="398869"/>
                    <a:pt x="365982" y="386723"/>
                    <a:pt x="363283" y="378625"/>
                  </a:cubicBezTo>
                  <a:cubicBezTo>
                    <a:pt x="361034" y="370078"/>
                    <a:pt x="363283" y="358381"/>
                    <a:pt x="367782" y="344435"/>
                  </a:cubicBezTo>
                  <a:cubicBezTo>
                    <a:pt x="372281" y="330490"/>
                    <a:pt x="408270" y="199129"/>
                    <a:pt x="334492" y="199579"/>
                  </a:cubicBezTo>
                  <a:cubicBezTo>
                    <a:pt x="334492" y="199579"/>
                    <a:pt x="327294" y="200929"/>
                    <a:pt x="319647" y="201828"/>
                  </a:cubicBezTo>
                  <a:cubicBezTo>
                    <a:pt x="316048" y="201828"/>
                    <a:pt x="311999" y="201378"/>
                    <a:pt x="307950" y="200029"/>
                  </a:cubicBezTo>
                  <a:cubicBezTo>
                    <a:pt x="298053" y="196880"/>
                    <a:pt x="291755" y="195080"/>
                    <a:pt x="290855" y="187433"/>
                  </a:cubicBezTo>
                  <a:cubicBezTo>
                    <a:pt x="290406" y="185183"/>
                    <a:pt x="290855" y="182484"/>
                    <a:pt x="291755" y="179785"/>
                  </a:cubicBezTo>
                  <a:cubicBezTo>
                    <a:pt x="294004" y="178885"/>
                    <a:pt x="296253" y="179335"/>
                    <a:pt x="300302" y="178435"/>
                  </a:cubicBezTo>
                  <a:cubicBezTo>
                    <a:pt x="304351" y="177086"/>
                    <a:pt x="308400" y="170788"/>
                    <a:pt x="311999" y="169438"/>
                  </a:cubicBezTo>
                  <a:cubicBezTo>
                    <a:pt x="315148" y="167639"/>
                    <a:pt x="318747" y="166289"/>
                    <a:pt x="323695" y="163590"/>
                  </a:cubicBezTo>
                  <a:cubicBezTo>
                    <a:pt x="328644" y="160891"/>
                    <a:pt x="329544" y="159541"/>
                    <a:pt x="335392" y="150994"/>
                  </a:cubicBezTo>
                  <a:cubicBezTo>
                    <a:pt x="359235" y="124452"/>
                    <a:pt x="361484" y="89812"/>
                    <a:pt x="352487" y="53823"/>
                  </a:cubicBezTo>
                  <a:cubicBezTo>
                    <a:pt x="343489" y="16934"/>
                    <a:pt x="313798" y="12435"/>
                    <a:pt x="309300" y="12435"/>
                  </a:cubicBezTo>
                  <a:cubicBezTo>
                    <a:pt x="304801" y="12435"/>
                    <a:pt x="298503" y="11986"/>
                    <a:pt x="290855" y="8386"/>
                  </a:cubicBezTo>
                  <a:cubicBezTo>
                    <a:pt x="283658" y="4788"/>
                    <a:pt x="264763" y="-1960"/>
                    <a:pt x="239571" y="3888"/>
                  </a:cubicBezTo>
                  <a:cubicBezTo>
                    <a:pt x="214378" y="9736"/>
                    <a:pt x="199982" y="22782"/>
                    <a:pt x="184687" y="42576"/>
                  </a:cubicBezTo>
                  <a:cubicBezTo>
                    <a:pt x="169392" y="62820"/>
                    <a:pt x="166243" y="81265"/>
                    <a:pt x="171191" y="98359"/>
                  </a:cubicBezTo>
                  <a:cubicBezTo>
                    <a:pt x="175690" y="113655"/>
                    <a:pt x="172990" y="113655"/>
                    <a:pt x="175240" y="117704"/>
                  </a:cubicBezTo>
                  <a:cubicBezTo>
                    <a:pt x="177489" y="121752"/>
                    <a:pt x="178389" y="117254"/>
                    <a:pt x="175690" y="135698"/>
                  </a:cubicBezTo>
                  <a:cubicBezTo>
                    <a:pt x="172990" y="151444"/>
                    <a:pt x="178839" y="160891"/>
                    <a:pt x="182438" y="168088"/>
                  </a:cubicBezTo>
                  <a:cubicBezTo>
                    <a:pt x="182438" y="171237"/>
                    <a:pt x="184687" y="177086"/>
                    <a:pt x="184237" y="182034"/>
                  </a:cubicBezTo>
                  <a:cubicBezTo>
                    <a:pt x="182438" y="201828"/>
                    <a:pt x="203132" y="196880"/>
                    <a:pt x="210779" y="196880"/>
                  </a:cubicBezTo>
                  <a:cubicBezTo>
                    <a:pt x="221126" y="196430"/>
                    <a:pt x="220677" y="204977"/>
                    <a:pt x="222476" y="212175"/>
                  </a:cubicBezTo>
                  <a:cubicBezTo>
                    <a:pt x="226075" y="226571"/>
                    <a:pt x="225625" y="230170"/>
                    <a:pt x="217527" y="240067"/>
                  </a:cubicBezTo>
                  <a:cubicBezTo>
                    <a:pt x="212129" y="246815"/>
                    <a:pt x="191435" y="256262"/>
                    <a:pt x="171641" y="263460"/>
                  </a:cubicBezTo>
                  <a:cubicBezTo>
                    <a:pt x="152297" y="270208"/>
                    <a:pt x="148698" y="291801"/>
                    <a:pt x="145549" y="303498"/>
                  </a:cubicBezTo>
                  <a:cubicBezTo>
                    <a:pt x="142850" y="313845"/>
                    <a:pt x="136552" y="341736"/>
                    <a:pt x="135202" y="348934"/>
                  </a:cubicBezTo>
                  <a:lnTo>
                    <a:pt x="95614" y="376376"/>
                  </a:lnTo>
                  <a:cubicBezTo>
                    <a:pt x="95614" y="376376"/>
                    <a:pt x="19137" y="350283"/>
                    <a:pt x="11039" y="344435"/>
                  </a:cubicBezTo>
                  <a:lnTo>
                    <a:pt x="7890" y="349834"/>
                  </a:lnTo>
                  <a:lnTo>
                    <a:pt x="1592" y="349384"/>
                  </a:lnTo>
                  <a:cubicBezTo>
                    <a:pt x="1592" y="349384"/>
                    <a:pt x="96514" y="433059"/>
                    <a:pt x="113159" y="445205"/>
                  </a:cubicBezTo>
                  <a:cubicBezTo>
                    <a:pt x="111809" y="448804"/>
                    <a:pt x="110009" y="452853"/>
                    <a:pt x="109110" y="457801"/>
                  </a:cubicBezTo>
                  <a:cubicBezTo>
                    <a:pt x="107310" y="465449"/>
                    <a:pt x="105961" y="472647"/>
                    <a:pt x="105511" y="478045"/>
                  </a:cubicBezTo>
                  <a:cubicBezTo>
                    <a:pt x="105061" y="486593"/>
                    <a:pt x="103712" y="491091"/>
                    <a:pt x="112259" y="501888"/>
                  </a:cubicBezTo>
                  <a:cubicBezTo>
                    <a:pt x="120357" y="513134"/>
                    <a:pt x="120357" y="517183"/>
                    <a:pt x="123956" y="517633"/>
                  </a:cubicBezTo>
                  <a:cubicBezTo>
                    <a:pt x="127554" y="518533"/>
                    <a:pt x="132053" y="519433"/>
                    <a:pt x="137452" y="515834"/>
                  </a:cubicBezTo>
                  <a:cubicBezTo>
                    <a:pt x="142850" y="511785"/>
                    <a:pt x="154546" y="509536"/>
                    <a:pt x="156346" y="504137"/>
                  </a:cubicBezTo>
                  <a:cubicBezTo>
                    <a:pt x="158595" y="495590"/>
                    <a:pt x="157696" y="490192"/>
                    <a:pt x="159045" y="487042"/>
                  </a:cubicBezTo>
                  <a:cubicBezTo>
                    <a:pt x="159045" y="487042"/>
                    <a:pt x="162644" y="486593"/>
                    <a:pt x="166693" y="485693"/>
                  </a:cubicBezTo>
                  <a:lnTo>
                    <a:pt x="167143" y="486143"/>
                  </a:lnTo>
                  <a:cubicBezTo>
                    <a:pt x="167143" y="486143"/>
                    <a:pt x="167143" y="486593"/>
                    <a:pt x="167143" y="486593"/>
                  </a:cubicBezTo>
                  <a:cubicBezTo>
                    <a:pt x="167592" y="493341"/>
                    <a:pt x="168492" y="490641"/>
                    <a:pt x="169392" y="497389"/>
                  </a:cubicBezTo>
                  <a:cubicBezTo>
                    <a:pt x="170741" y="504137"/>
                    <a:pt x="172541" y="503237"/>
                    <a:pt x="168942" y="509536"/>
                  </a:cubicBezTo>
                  <a:cubicBezTo>
                    <a:pt x="165343" y="515384"/>
                    <a:pt x="160395" y="512685"/>
                    <a:pt x="163543" y="518533"/>
                  </a:cubicBezTo>
                  <a:cubicBezTo>
                    <a:pt x="166693" y="524381"/>
                    <a:pt x="167143" y="534728"/>
                    <a:pt x="165793" y="539677"/>
                  </a:cubicBezTo>
                  <a:cubicBezTo>
                    <a:pt x="164443" y="544625"/>
                    <a:pt x="155896" y="570267"/>
                    <a:pt x="153647" y="584663"/>
                  </a:cubicBezTo>
                  <a:cubicBezTo>
                    <a:pt x="151397" y="599059"/>
                    <a:pt x="143300" y="612555"/>
                    <a:pt x="147348" y="613904"/>
                  </a:cubicBezTo>
                  <a:cubicBezTo>
                    <a:pt x="147798" y="613904"/>
                    <a:pt x="148698" y="613904"/>
                    <a:pt x="150497" y="613454"/>
                  </a:cubicBezTo>
                  <a:cubicBezTo>
                    <a:pt x="150047" y="613454"/>
                    <a:pt x="150047" y="613904"/>
                    <a:pt x="149598" y="613904"/>
                  </a:cubicBezTo>
                  <a:cubicBezTo>
                    <a:pt x="149598" y="613904"/>
                    <a:pt x="146449" y="649893"/>
                    <a:pt x="145099" y="678235"/>
                  </a:cubicBezTo>
                  <a:cubicBezTo>
                    <a:pt x="145099" y="678235"/>
                    <a:pt x="145099" y="678235"/>
                    <a:pt x="145099" y="678235"/>
                  </a:cubicBezTo>
                  <a:cubicBezTo>
                    <a:pt x="144200" y="693530"/>
                    <a:pt x="143300" y="709276"/>
                    <a:pt x="143749" y="720072"/>
                  </a:cubicBezTo>
                  <a:cubicBezTo>
                    <a:pt x="143749" y="726370"/>
                    <a:pt x="143749" y="734018"/>
                    <a:pt x="143300" y="742565"/>
                  </a:cubicBezTo>
                  <a:cubicBezTo>
                    <a:pt x="142850" y="752462"/>
                    <a:pt x="141950" y="762360"/>
                    <a:pt x="141050" y="770457"/>
                  </a:cubicBezTo>
                  <a:lnTo>
                    <a:pt x="141950" y="770457"/>
                  </a:lnTo>
                  <a:cubicBezTo>
                    <a:pt x="140600" y="791151"/>
                    <a:pt x="138351" y="810045"/>
                    <a:pt x="137001" y="814094"/>
                  </a:cubicBezTo>
                  <a:cubicBezTo>
                    <a:pt x="137001" y="814094"/>
                    <a:pt x="138801" y="818593"/>
                    <a:pt x="155896" y="817243"/>
                  </a:cubicBezTo>
                  <a:cubicBezTo>
                    <a:pt x="155896" y="817243"/>
                    <a:pt x="156795" y="817243"/>
                    <a:pt x="158595" y="817243"/>
                  </a:cubicBezTo>
                  <a:cubicBezTo>
                    <a:pt x="160844" y="828490"/>
                    <a:pt x="166243" y="856381"/>
                    <a:pt x="170741" y="869427"/>
                  </a:cubicBezTo>
                  <a:cubicBezTo>
                    <a:pt x="176140" y="886072"/>
                    <a:pt x="193234" y="946804"/>
                    <a:pt x="194134" y="952202"/>
                  </a:cubicBezTo>
                  <a:cubicBezTo>
                    <a:pt x="194584" y="957601"/>
                    <a:pt x="192335" y="970647"/>
                    <a:pt x="195934" y="979194"/>
                  </a:cubicBezTo>
                  <a:cubicBezTo>
                    <a:pt x="199533" y="987742"/>
                    <a:pt x="204031" y="994490"/>
                    <a:pt x="204031" y="1002587"/>
                  </a:cubicBezTo>
                  <a:cubicBezTo>
                    <a:pt x="204031" y="1010685"/>
                    <a:pt x="202682" y="1072766"/>
                    <a:pt x="208980" y="1097509"/>
                  </a:cubicBezTo>
                  <a:cubicBezTo>
                    <a:pt x="215278" y="1122701"/>
                    <a:pt x="231023" y="1205476"/>
                    <a:pt x="229674" y="1254061"/>
                  </a:cubicBezTo>
                  <a:cubicBezTo>
                    <a:pt x="228324" y="1302647"/>
                    <a:pt x="217527" y="1334587"/>
                    <a:pt x="209880" y="1344934"/>
                  </a:cubicBezTo>
                  <a:cubicBezTo>
                    <a:pt x="209880" y="1344934"/>
                    <a:pt x="203581" y="1353032"/>
                    <a:pt x="180639" y="1353931"/>
                  </a:cubicBezTo>
                  <a:cubicBezTo>
                    <a:pt x="180639" y="1353931"/>
                    <a:pt x="166693" y="1352582"/>
                    <a:pt x="165793" y="1364278"/>
                  </a:cubicBezTo>
                  <a:cubicBezTo>
                    <a:pt x="165343" y="1375975"/>
                    <a:pt x="168042" y="1389471"/>
                    <a:pt x="195934" y="1389471"/>
                  </a:cubicBezTo>
                  <a:cubicBezTo>
                    <a:pt x="223376" y="1389471"/>
                    <a:pt x="242719" y="1391270"/>
                    <a:pt x="246768" y="1383173"/>
                  </a:cubicBezTo>
                  <a:cubicBezTo>
                    <a:pt x="251267" y="1375075"/>
                    <a:pt x="259815" y="1339536"/>
                    <a:pt x="273760" y="1326040"/>
                  </a:cubicBezTo>
                  <a:cubicBezTo>
                    <a:pt x="287706" y="1312544"/>
                    <a:pt x="287706" y="1313893"/>
                    <a:pt x="290855" y="1325590"/>
                  </a:cubicBezTo>
                  <a:cubicBezTo>
                    <a:pt x="294004" y="1337286"/>
                    <a:pt x="293105" y="1342235"/>
                    <a:pt x="293105" y="1342235"/>
                  </a:cubicBezTo>
                  <a:cubicBezTo>
                    <a:pt x="293105" y="1342235"/>
                    <a:pt x="297603" y="1343585"/>
                    <a:pt x="293105" y="1345834"/>
                  </a:cubicBezTo>
                  <a:cubicBezTo>
                    <a:pt x="288606" y="1348083"/>
                    <a:pt x="274210" y="1351232"/>
                    <a:pt x="269711" y="1357081"/>
                  </a:cubicBezTo>
                  <a:cubicBezTo>
                    <a:pt x="265213" y="1362479"/>
                    <a:pt x="264763" y="1370576"/>
                    <a:pt x="267912" y="1375075"/>
                  </a:cubicBezTo>
                  <a:cubicBezTo>
                    <a:pt x="271061" y="1379574"/>
                    <a:pt x="264313" y="1387221"/>
                    <a:pt x="277809" y="1389021"/>
                  </a:cubicBezTo>
                  <a:cubicBezTo>
                    <a:pt x="291305" y="1390820"/>
                    <a:pt x="343039" y="1397568"/>
                    <a:pt x="357435" y="1388571"/>
                  </a:cubicBezTo>
                  <a:cubicBezTo>
                    <a:pt x="357435" y="1388571"/>
                    <a:pt x="364183" y="1379574"/>
                    <a:pt x="364183" y="1365178"/>
                  </a:cubicBezTo>
                  <a:cubicBezTo>
                    <a:pt x="364183" y="1351232"/>
                    <a:pt x="371381" y="1336387"/>
                    <a:pt x="377229" y="1332788"/>
                  </a:cubicBezTo>
                  <a:cubicBezTo>
                    <a:pt x="382628" y="1329189"/>
                    <a:pt x="384427" y="1337286"/>
                    <a:pt x="385777" y="1349883"/>
                  </a:cubicBezTo>
                  <a:cubicBezTo>
                    <a:pt x="387126" y="1362929"/>
                    <a:pt x="388925" y="1386772"/>
                    <a:pt x="388925" y="1386772"/>
                  </a:cubicBezTo>
                  <a:lnTo>
                    <a:pt x="395673" y="1386322"/>
                  </a:lnTo>
                  <a:cubicBezTo>
                    <a:pt x="395673" y="1386322"/>
                    <a:pt x="397923" y="1310744"/>
                    <a:pt x="407370" y="1288251"/>
                  </a:cubicBezTo>
                  <a:cubicBezTo>
                    <a:pt x="407820" y="1288251"/>
                    <a:pt x="401522" y="1258110"/>
                    <a:pt x="380378" y="1245514"/>
                  </a:cubicBezTo>
                  <a:close/>
                  <a:moveTo>
                    <a:pt x="332243" y="1222571"/>
                  </a:moveTo>
                  <a:cubicBezTo>
                    <a:pt x="330443" y="1239216"/>
                    <a:pt x="327294" y="1244614"/>
                    <a:pt x="325495" y="1256311"/>
                  </a:cubicBezTo>
                  <a:cubicBezTo>
                    <a:pt x="323695" y="1268007"/>
                    <a:pt x="323695" y="1290500"/>
                    <a:pt x="320546" y="1298598"/>
                  </a:cubicBezTo>
                  <a:cubicBezTo>
                    <a:pt x="317397" y="1306696"/>
                    <a:pt x="306601" y="1326940"/>
                    <a:pt x="305701" y="1324240"/>
                  </a:cubicBezTo>
                  <a:cubicBezTo>
                    <a:pt x="305251" y="1321991"/>
                    <a:pt x="308850" y="1306246"/>
                    <a:pt x="307950" y="1286002"/>
                  </a:cubicBezTo>
                  <a:cubicBezTo>
                    <a:pt x="307500" y="1265758"/>
                    <a:pt x="288156" y="1254061"/>
                    <a:pt x="288156" y="1254061"/>
                  </a:cubicBezTo>
                  <a:cubicBezTo>
                    <a:pt x="288156" y="1254061"/>
                    <a:pt x="280958" y="1236067"/>
                    <a:pt x="278259" y="1215373"/>
                  </a:cubicBezTo>
                  <a:cubicBezTo>
                    <a:pt x="276010" y="1194679"/>
                    <a:pt x="278259" y="1147444"/>
                    <a:pt x="278259" y="1127650"/>
                  </a:cubicBezTo>
                  <a:cubicBezTo>
                    <a:pt x="278259" y="1107855"/>
                    <a:pt x="285007" y="1082213"/>
                    <a:pt x="285457" y="1070517"/>
                  </a:cubicBezTo>
                  <a:cubicBezTo>
                    <a:pt x="285907" y="1058820"/>
                    <a:pt x="284107" y="1040376"/>
                    <a:pt x="281858" y="1031378"/>
                  </a:cubicBezTo>
                  <a:cubicBezTo>
                    <a:pt x="279609" y="1022381"/>
                    <a:pt x="275110" y="1002137"/>
                    <a:pt x="273760" y="991340"/>
                  </a:cubicBezTo>
                  <a:cubicBezTo>
                    <a:pt x="272411" y="980994"/>
                    <a:pt x="276010" y="971097"/>
                    <a:pt x="276010" y="971097"/>
                  </a:cubicBezTo>
                  <a:cubicBezTo>
                    <a:pt x="284107" y="976045"/>
                    <a:pt x="291755" y="996739"/>
                    <a:pt x="294454" y="1007086"/>
                  </a:cubicBezTo>
                  <a:cubicBezTo>
                    <a:pt x="296703" y="1017433"/>
                    <a:pt x="296253" y="1010235"/>
                    <a:pt x="316947" y="1101108"/>
                  </a:cubicBezTo>
                  <a:cubicBezTo>
                    <a:pt x="338991" y="1192430"/>
                    <a:pt x="334042" y="1205926"/>
                    <a:pt x="332243" y="1222571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28501BEE-9B55-4385-8AAF-8B4117A13E71}"/>
                </a:ext>
              </a:extLst>
            </p:cNvPr>
            <p:cNvSpPr/>
            <p:nvPr/>
          </p:nvSpPr>
          <p:spPr>
            <a:xfrm>
              <a:off x="1486007" y="2437599"/>
              <a:ext cx="1688351" cy="2065807"/>
            </a:xfrm>
            <a:custGeom>
              <a:avLst/>
              <a:gdLst>
                <a:gd name="connsiteX0" fmla="*/ 2165 w 1489051"/>
                <a:gd name="connsiteY0" fmla="*/ 716085 h 1821951"/>
                <a:gd name="connsiteX1" fmla="*/ 773683 w 1489051"/>
                <a:gd name="connsiteY1" fmla="*/ 2150 h 1821951"/>
                <a:gd name="connsiteX2" fmla="*/ 1487618 w 1489051"/>
                <a:gd name="connsiteY2" fmla="*/ 773668 h 1821951"/>
                <a:gd name="connsiteX3" fmla="*/ 802924 w 1489051"/>
                <a:gd name="connsiteY3" fmla="*/ 1485803 h 1821951"/>
                <a:gd name="connsiteX4" fmla="*/ 868155 w 1489051"/>
                <a:gd name="connsiteY4" fmla="*/ 1820952 h 1821951"/>
                <a:gd name="connsiteX5" fmla="*/ 532106 w 1489051"/>
                <a:gd name="connsiteY5" fmla="*/ 1457462 h 1821951"/>
                <a:gd name="connsiteX6" fmla="*/ 2165 w 1489051"/>
                <a:gd name="connsiteY6" fmla="*/ 716085 h 1821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9051" h="1821951">
                  <a:moveTo>
                    <a:pt x="2165" y="716085"/>
                  </a:moveTo>
                  <a:cubicBezTo>
                    <a:pt x="17911" y="305809"/>
                    <a:pt x="363406" y="-13595"/>
                    <a:pt x="773683" y="2150"/>
                  </a:cubicBezTo>
                  <a:cubicBezTo>
                    <a:pt x="1183960" y="17895"/>
                    <a:pt x="1503363" y="363391"/>
                    <a:pt x="1487618" y="773668"/>
                  </a:cubicBezTo>
                  <a:cubicBezTo>
                    <a:pt x="1473222" y="1154703"/>
                    <a:pt x="1174062" y="1457012"/>
                    <a:pt x="802924" y="1485803"/>
                  </a:cubicBezTo>
                  <a:lnTo>
                    <a:pt x="868155" y="1820952"/>
                  </a:lnTo>
                  <a:lnTo>
                    <a:pt x="532106" y="1457462"/>
                  </a:lnTo>
                  <a:cubicBezTo>
                    <a:pt x="214951" y="1362540"/>
                    <a:pt x="-11331" y="1062481"/>
                    <a:pt x="2165" y="716085"/>
                  </a:cubicBezTo>
                  <a:close/>
                </a:path>
              </a:pathLst>
            </a:custGeom>
            <a:solidFill>
              <a:schemeClr val="accent3">
                <a:alpha val="60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39A34E6C-3925-45D9-A362-BA62B32CCD54}"/>
                </a:ext>
              </a:extLst>
            </p:cNvPr>
            <p:cNvSpPr/>
            <p:nvPr/>
          </p:nvSpPr>
          <p:spPr>
            <a:xfrm>
              <a:off x="1007224" y="1742085"/>
              <a:ext cx="1224182" cy="1499623"/>
            </a:xfrm>
            <a:custGeom>
              <a:avLst/>
              <a:gdLst>
                <a:gd name="connsiteX0" fmla="*/ 2017 w 1079674"/>
                <a:gd name="connsiteY0" fmla="*/ 520709 h 1322601"/>
                <a:gd name="connsiteX1" fmla="*/ 562548 w 1079674"/>
                <a:gd name="connsiteY1" fmla="*/ 2015 h 1322601"/>
                <a:gd name="connsiteX2" fmla="*/ 1081242 w 1079674"/>
                <a:gd name="connsiteY2" fmla="*/ 562547 h 1322601"/>
                <a:gd name="connsiteX3" fmla="*/ 583692 w 1079674"/>
                <a:gd name="connsiteY3" fmla="*/ 1079891 h 1322601"/>
                <a:gd name="connsiteX4" fmla="*/ 631377 w 1079674"/>
                <a:gd name="connsiteY4" fmla="*/ 1323268 h 1322601"/>
                <a:gd name="connsiteX5" fmla="*/ 387101 w 1079674"/>
                <a:gd name="connsiteY5" fmla="*/ 1059197 h 1322601"/>
                <a:gd name="connsiteX6" fmla="*/ 2017 w 1079674"/>
                <a:gd name="connsiteY6" fmla="*/ 520709 h 1322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9674" h="1322601">
                  <a:moveTo>
                    <a:pt x="2017" y="520709"/>
                  </a:moveTo>
                  <a:cubicBezTo>
                    <a:pt x="13713" y="222449"/>
                    <a:pt x="264738" y="-9681"/>
                    <a:pt x="562548" y="2015"/>
                  </a:cubicBezTo>
                  <a:cubicBezTo>
                    <a:pt x="860808" y="13262"/>
                    <a:pt x="1092938" y="264287"/>
                    <a:pt x="1081242" y="562547"/>
                  </a:cubicBezTo>
                  <a:cubicBezTo>
                    <a:pt x="1070445" y="839213"/>
                    <a:pt x="853160" y="1059197"/>
                    <a:pt x="583692" y="1079891"/>
                  </a:cubicBezTo>
                  <a:lnTo>
                    <a:pt x="631377" y="1323268"/>
                  </a:lnTo>
                  <a:lnTo>
                    <a:pt x="387101" y="1059197"/>
                  </a:lnTo>
                  <a:cubicBezTo>
                    <a:pt x="156320" y="990368"/>
                    <a:pt x="-7880" y="772184"/>
                    <a:pt x="2017" y="520709"/>
                  </a:cubicBez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C16CC4E7-AB82-48A0-B94F-01DD05CFD535}"/>
                </a:ext>
              </a:extLst>
            </p:cNvPr>
            <p:cNvSpPr/>
            <p:nvPr/>
          </p:nvSpPr>
          <p:spPr>
            <a:xfrm>
              <a:off x="3155418" y="1194008"/>
              <a:ext cx="2761288" cy="3354725"/>
            </a:xfrm>
            <a:custGeom>
              <a:avLst/>
              <a:gdLst>
                <a:gd name="connsiteX0" fmla="*/ 1027687 w 1025691"/>
                <a:gd name="connsiteY0" fmla="*/ 534612 h 1246124"/>
                <a:gd name="connsiteX1" fmla="*/ 534635 w 1025691"/>
                <a:gd name="connsiteY1" fmla="*/ 1972 h 1246124"/>
                <a:gd name="connsiteX2" fmla="*/ 1996 w 1025691"/>
                <a:gd name="connsiteY2" fmla="*/ 495024 h 1246124"/>
                <a:gd name="connsiteX3" fmla="*/ 435215 w 1025691"/>
                <a:gd name="connsiteY3" fmla="*/ 1021815 h 1246124"/>
                <a:gd name="connsiteX4" fmla="*/ 372234 w 1025691"/>
                <a:gd name="connsiteY4" fmla="*/ 1248997 h 1246124"/>
                <a:gd name="connsiteX5" fmla="*/ 622809 w 1025691"/>
                <a:gd name="connsiteY5" fmla="*/ 1016867 h 1246124"/>
                <a:gd name="connsiteX6" fmla="*/ 1027687 w 1025691"/>
                <a:gd name="connsiteY6" fmla="*/ 534612 h 1246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5691" h="1246124">
                  <a:moveTo>
                    <a:pt x="1027687" y="534612"/>
                  </a:moveTo>
                  <a:cubicBezTo>
                    <a:pt x="1038483" y="251197"/>
                    <a:pt x="818050" y="12769"/>
                    <a:pt x="534635" y="1972"/>
                  </a:cubicBezTo>
                  <a:cubicBezTo>
                    <a:pt x="251220" y="-8824"/>
                    <a:pt x="12792" y="211609"/>
                    <a:pt x="1996" y="495024"/>
                  </a:cubicBezTo>
                  <a:cubicBezTo>
                    <a:pt x="-8351" y="758195"/>
                    <a:pt x="181491" y="982227"/>
                    <a:pt x="435215" y="1021815"/>
                  </a:cubicBezTo>
                  <a:lnTo>
                    <a:pt x="372234" y="1248997"/>
                  </a:lnTo>
                  <a:lnTo>
                    <a:pt x="622809" y="1016867"/>
                  </a:lnTo>
                  <a:cubicBezTo>
                    <a:pt x="846841" y="968282"/>
                    <a:pt x="1018239" y="773940"/>
                    <a:pt x="1027687" y="534612"/>
                  </a:cubicBez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9257762F-8FE3-4E22-AE4D-AE3270FCC038}"/>
                </a:ext>
              </a:extLst>
            </p:cNvPr>
            <p:cNvSpPr/>
            <p:nvPr/>
          </p:nvSpPr>
          <p:spPr>
            <a:xfrm>
              <a:off x="2663551" y="3583752"/>
              <a:ext cx="760012" cy="923237"/>
            </a:xfrm>
            <a:custGeom>
              <a:avLst/>
              <a:gdLst>
                <a:gd name="connsiteX0" fmla="*/ 671254 w 670298"/>
                <a:gd name="connsiteY0" fmla="*/ 349596 h 814254"/>
                <a:gd name="connsiteX1" fmla="*/ 349601 w 670298"/>
                <a:gd name="connsiteY1" fmla="*/ 1851 h 814254"/>
                <a:gd name="connsiteX2" fmla="*/ 1856 w 670298"/>
                <a:gd name="connsiteY2" fmla="*/ 323504 h 814254"/>
                <a:gd name="connsiteX3" fmla="*/ 284820 w 670298"/>
                <a:gd name="connsiteY3" fmla="*/ 667650 h 814254"/>
                <a:gd name="connsiteX4" fmla="*/ 243883 w 670298"/>
                <a:gd name="connsiteY4" fmla="*/ 816106 h 814254"/>
                <a:gd name="connsiteX5" fmla="*/ 407633 w 670298"/>
                <a:gd name="connsiteY5" fmla="*/ 664501 h 814254"/>
                <a:gd name="connsiteX6" fmla="*/ 671254 w 670298"/>
                <a:gd name="connsiteY6" fmla="*/ 349596 h 814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0298" h="814254">
                  <a:moveTo>
                    <a:pt x="671254" y="349596"/>
                  </a:moveTo>
                  <a:cubicBezTo>
                    <a:pt x="678452" y="164702"/>
                    <a:pt x="534495" y="9049"/>
                    <a:pt x="349601" y="1851"/>
                  </a:cubicBezTo>
                  <a:cubicBezTo>
                    <a:pt x="164707" y="-5347"/>
                    <a:pt x="9053" y="138610"/>
                    <a:pt x="1856" y="323504"/>
                  </a:cubicBezTo>
                  <a:cubicBezTo>
                    <a:pt x="-4892" y="495352"/>
                    <a:pt x="118820" y="641558"/>
                    <a:pt x="284820" y="667650"/>
                  </a:cubicBezTo>
                  <a:lnTo>
                    <a:pt x="243883" y="816106"/>
                  </a:lnTo>
                  <a:lnTo>
                    <a:pt x="407633" y="664501"/>
                  </a:lnTo>
                  <a:cubicBezTo>
                    <a:pt x="552940" y="633011"/>
                    <a:pt x="664956" y="505699"/>
                    <a:pt x="671254" y="349596"/>
                  </a:cubicBez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987286" y="308823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988402" y="398358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24769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0/13/Sun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855807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0/13/Sun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86363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75358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F8182DBB-38B0-468B-BD28-59DF03704536}"/>
              </a:ext>
            </a:extLst>
          </p:cNvPr>
          <p:cNvGrpSpPr/>
          <p:nvPr userDrawn="1"/>
        </p:nvGrpSpPr>
        <p:grpSpPr>
          <a:xfrm>
            <a:off x="712451" y="1331259"/>
            <a:ext cx="4372525" cy="5526741"/>
            <a:chOff x="6306427" y="368969"/>
            <a:chExt cx="5133848" cy="6489031"/>
          </a:xfrm>
        </p:grpSpPr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B5BF8117-277B-40A5-A52D-0B9696AE7E12}"/>
                </a:ext>
              </a:extLst>
            </p:cNvPr>
            <p:cNvSpPr/>
            <p:nvPr/>
          </p:nvSpPr>
          <p:spPr>
            <a:xfrm>
              <a:off x="7002532" y="6218648"/>
              <a:ext cx="3759767" cy="639352"/>
            </a:xfrm>
            <a:custGeom>
              <a:avLst/>
              <a:gdLst>
                <a:gd name="connsiteX0" fmla="*/ 1087278 w 2719388"/>
                <a:gd name="connsiteY0" fmla="*/ 113816 h 428271"/>
                <a:gd name="connsiteX1" fmla="*/ 1087278 w 2719388"/>
                <a:gd name="connsiteY1" fmla="*/ 166450 h 428271"/>
                <a:gd name="connsiteX2" fmla="*/ 1086379 w 2719388"/>
                <a:gd name="connsiteY2" fmla="*/ 180396 h 428271"/>
                <a:gd name="connsiteX3" fmla="*/ 1086828 w 2719388"/>
                <a:gd name="connsiteY3" fmla="*/ 178147 h 428271"/>
                <a:gd name="connsiteX4" fmla="*/ 1092677 w 2719388"/>
                <a:gd name="connsiteY4" fmla="*/ 159252 h 428271"/>
                <a:gd name="connsiteX5" fmla="*/ 1100324 w 2719388"/>
                <a:gd name="connsiteY5" fmla="*/ 133160 h 428271"/>
                <a:gd name="connsiteX6" fmla="*/ 1087278 w 2719388"/>
                <a:gd name="connsiteY6" fmla="*/ 113816 h 428271"/>
                <a:gd name="connsiteX7" fmla="*/ 2629135 w 2719388"/>
                <a:gd name="connsiteY7" fmla="*/ 19119 h 428271"/>
                <a:gd name="connsiteX8" fmla="*/ 2669454 w 2719388"/>
                <a:gd name="connsiteY8" fmla="*/ 23393 h 428271"/>
                <a:gd name="connsiteX9" fmla="*/ 2676201 w 2719388"/>
                <a:gd name="connsiteY9" fmla="*/ 46786 h 428271"/>
                <a:gd name="connsiteX10" fmla="*/ 2689248 w 2719388"/>
                <a:gd name="connsiteY10" fmla="*/ 79176 h 428271"/>
                <a:gd name="connsiteX11" fmla="*/ 2697795 w 2719388"/>
                <a:gd name="connsiteY11" fmla="*/ 62081 h 428271"/>
                <a:gd name="connsiteX12" fmla="*/ 2700944 w 2719388"/>
                <a:gd name="connsiteY12" fmla="*/ 25192 h 428271"/>
                <a:gd name="connsiteX13" fmla="*/ 2707692 w 2719388"/>
                <a:gd name="connsiteY13" fmla="*/ 25642 h 428271"/>
                <a:gd name="connsiteX14" fmla="*/ 2719388 w 2719388"/>
                <a:gd name="connsiteY14" fmla="*/ 123714 h 428271"/>
                <a:gd name="connsiteX15" fmla="*/ 2691947 w 2719388"/>
                <a:gd name="connsiteY15" fmla="*/ 166451 h 428271"/>
                <a:gd name="connsiteX16" fmla="*/ 2691497 w 2719388"/>
                <a:gd name="connsiteY16" fmla="*/ 236180 h 428271"/>
                <a:gd name="connsiteX17" fmla="*/ 2681600 w 2719388"/>
                <a:gd name="connsiteY17" fmla="*/ 426922 h 428271"/>
                <a:gd name="connsiteX18" fmla="*/ 2598374 w 2719388"/>
                <a:gd name="connsiteY18" fmla="*/ 426922 h 428271"/>
                <a:gd name="connsiteX19" fmla="*/ 2606922 w 2719388"/>
                <a:gd name="connsiteY19" fmla="*/ 403529 h 428271"/>
                <a:gd name="connsiteX20" fmla="*/ 2629415 w 2719388"/>
                <a:gd name="connsiteY20" fmla="*/ 309508 h 428271"/>
                <a:gd name="connsiteX21" fmla="*/ 2643362 w 2719388"/>
                <a:gd name="connsiteY21" fmla="*/ 188494 h 428271"/>
                <a:gd name="connsiteX22" fmla="*/ 2636614 w 2719388"/>
                <a:gd name="connsiteY22" fmla="*/ 154754 h 428271"/>
                <a:gd name="connsiteX23" fmla="*/ 2631665 w 2719388"/>
                <a:gd name="connsiteY23" fmla="*/ 112466 h 428271"/>
                <a:gd name="connsiteX24" fmla="*/ 2616820 w 2719388"/>
                <a:gd name="connsiteY24" fmla="*/ 86824 h 428271"/>
                <a:gd name="connsiteX25" fmla="*/ 2619069 w 2719388"/>
                <a:gd name="connsiteY25" fmla="*/ 125063 h 428271"/>
                <a:gd name="connsiteX26" fmla="*/ 2599275 w 2719388"/>
                <a:gd name="connsiteY26" fmla="*/ 157003 h 428271"/>
                <a:gd name="connsiteX27" fmla="*/ 2589377 w 2719388"/>
                <a:gd name="connsiteY27" fmla="*/ 195692 h 428271"/>
                <a:gd name="connsiteX28" fmla="*/ 2589377 w 2719388"/>
                <a:gd name="connsiteY28" fmla="*/ 283415 h 428271"/>
                <a:gd name="connsiteX29" fmla="*/ 2596575 w 2719388"/>
                <a:gd name="connsiteY29" fmla="*/ 340548 h 428271"/>
                <a:gd name="connsiteX30" fmla="*/ 2592976 w 2719388"/>
                <a:gd name="connsiteY30" fmla="*/ 379686 h 428271"/>
                <a:gd name="connsiteX31" fmla="*/ 2584878 w 2719388"/>
                <a:gd name="connsiteY31" fmla="*/ 419724 h 428271"/>
                <a:gd name="connsiteX32" fmla="*/ 2586228 w 2719388"/>
                <a:gd name="connsiteY32" fmla="*/ 427822 h 428271"/>
                <a:gd name="connsiteX33" fmla="*/ 2510200 w 2719388"/>
                <a:gd name="connsiteY33" fmla="*/ 427822 h 428271"/>
                <a:gd name="connsiteX34" fmla="*/ 2516049 w 2719388"/>
                <a:gd name="connsiteY34" fmla="*/ 409378 h 428271"/>
                <a:gd name="connsiteX35" fmla="*/ 2520997 w 2719388"/>
                <a:gd name="connsiteY35" fmla="*/ 314456 h 428271"/>
                <a:gd name="connsiteX36" fmla="*/ 2541691 w 2719388"/>
                <a:gd name="connsiteY36" fmla="*/ 157903 h 428271"/>
                <a:gd name="connsiteX37" fmla="*/ 2521897 w 2719388"/>
                <a:gd name="connsiteY37" fmla="*/ 67029 h 428271"/>
                <a:gd name="connsiteX38" fmla="*/ 2492656 w 2719388"/>
                <a:gd name="connsiteY38" fmla="*/ 58032 h 428271"/>
                <a:gd name="connsiteX39" fmla="*/ 2477810 w 2719388"/>
                <a:gd name="connsiteY39" fmla="*/ 47685 h 428271"/>
                <a:gd name="connsiteX40" fmla="*/ 2507951 w 2719388"/>
                <a:gd name="connsiteY40" fmla="*/ 22493 h 428271"/>
                <a:gd name="connsiteX41" fmla="*/ 2558786 w 2719388"/>
                <a:gd name="connsiteY41" fmla="*/ 28791 h 428271"/>
                <a:gd name="connsiteX42" fmla="*/ 2585778 w 2719388"/>
                <a:gd name="connsiteY42" fmla="*/ 85924 h 428271"/>
                <a:gd name="connsiteX43" fmla="*/ 2602874 w 2719388"/>
                <a:gd name="connsiteY43" fmla="*/ 86374 h 428271"/>
                <a:gd name="connsiteX44" fmla="*/ 2605123 w 2719388"/>
                <a:gd name="connsiteY44" fmla="*/ 69729 h 428271"/>
                <a:gd name="connsiteX45" fmla="*/ 2605123 w 2719388"/>
                <a:gd name="connsiteY45" fmla="*/ 66130 h 428271"/>
                <a:gd name="connsiteX46" fmla="*/ 2581729 w 2719388"/>
                <a:gd name="connsiteY46" fmla="*/ 54883 h 428271"/>
                <a:gd name="connsiteX47" fmla="*/ 2579929 w 2719388"/>
                <a:gd name="connsiteY47" fmla="*/ 36889 h 428271"/>
                <a:gd name="connsiteX48" fmla="*/ 2589827 w 2719388"/>
                <a:gd name="connsiteY48" fmla="*/ 22943 h 428271"/>
                <a:gd name="connsiteX49" fmla="*/ 2629135 w 2719388"/>
                <a:gd name="connsiteY49" fmla="*/ 19119 h 428271"/>
                <a:gd name="connsiteX50" fmla="*/ 1119668 w 2719388"/>
                <a:gd name="connsiteY50" fmla="*/ 13496 h 428271"/>
                <a:gd name="connsiteX51" fmla="*/ 1143961 w 2719388"/>
                <a:gd name="connsiteY51" fmla="*/ 17995 h 428271"/>
                <a:gd name="connsiteX52" fmla="*/ 1158807 w 2719388"/>
                <a:gd name="connsiteY52" fmla="*/ 14846 h 428271"/>
                <a:gd name="connsiteX53" fmla="*/ 1271723 w 2719388"/>
                <a:gd name="connsiteY53" fmla="*/ 14846 h 428271"/>
                <a:gd name="connsiteX54" fmla="*/ 1294666 w 2719388"/>
                <a:gd name="connsiteY54" fmla="*/ 19794 h 428271"/>
                <a:gd name="connsiteX55" fmla="*/ 1298265 w 2719388"/>
                <a:gd name="connsiteY55" fmla="*/ 22943 h 428271"/>
                <a:gd name="connsiteX56" fmla="*/ 1296015 w 2719388"/>
                <a:gd name="connsiteY56" fmla="*/ 32840 h 428271"/>
                <a:gd name="connsiteX57" fmla="*/ 1289717 w 2719388"/>
                <a:gd name="connsiteY57" fmla="*/ 39139 h 428271"/>
                <a:gd name="connsiteX58" fmla="*/ 1284319 w 2719388"/>
                <a:gd name="connsiteY58" fmla="*/ 46336 h 428271"/>
                <a:gd name="connsiteX59" fmla="*/ 1251479 w 2719388"/>
                <a:gd name="connsiteY59" fmla="*/ 54884 h 428271"/>
                <a:gd name="connsiteX60" fmla="*/ 1234384 w 2719388"/>
                <a:gd name="connsiteY60" fmla="*/ 66580 h 428271"/>
                <a:gd name="connsiteX61" fmla="*/ 1219538 w 2719388"/>
                <a:gd name="connsiteY61" fmla="*/ 80076 h 428271"/>
                <a:gd name="connsiteX62" fmla="*/ 1207392 w 2719388"/>
                <a:gd name="connsiteY62" fmla="*/ 100320 h 428271"/>
                <a:gd name="connsiteX63" fmla="*/ 1210541 w 2719388"/>
                <a:gd name="connsiteY63" fmla="*/ 124613 h 428271"/>
                <a:gd name="connsiteX64" fmla="*/ 1210991 w 2719388"/>
                <a:gd name="connsiteY64" fmla="*/ 139008 h 428271"/>
                <a:gd name="connsiteX65" fmla="*/ 1200644 w 2719388"/>
                <a:gd name="connsiteY65" fmla="*/ 147106 h 428271"/>
                <a:gd name="connsiteX66" fmla="*/ 1206042 w 2719388"/>
                <a:gd name="connsiteY66" fmla="*/ 166900 h 428271"/>
                <a:gd name="connsiteX67" fmla="*/ 1201094 w 2719388"/>
                <a:gd name="connsiteY67" fmla="*/ 183095 h 428271"/>
                <a:gd name="connsiteX68" fmla="*/ 1189397 w 2719388"/>
                <a:gd name="connsiteY68" fmla="*/ 243377 h 428271"/>
                <a:gd name="connsiteX69" fmla="*/ 1179501 w 2719388"/>
                <a:gd name="connsiteY69" fmla="*/ 289263 h 428271"/>
                <a:gd name="connsiteX70" fmla="*/ 1186698 w 2719388"/>
                <a:gd name="connsiteY70" fmla="*/ 311307 h 428271"/>
                <a:gd name="connsiteX71" fmla="*/ 1196145 w 2719388"/>
                <a:gd name="connsiteY71" fmla="*/ 379686 h 428271"/>
                <a:gd name="connsiteX72" fmla="*/ 1199745 w 2719388"/>
                <a:gd name="connsiteY72" fmla="*/ 427372 h 428271"/>
                <a:gd name="connsiteX73" fmla="*/ 1029246 w 2719388"/>
                <a:gd name="connsiteY73" fmla="*/ 427372 h 428271"/>
                <a:gd name="connsiteX74" fmla="*/ 1021148 w 2719388"/>
                <a:gd name="connsiteY74" fmla="*/ 419724 h 428271"/>
                <a:gd name="connsiteX75" fmla="*/ 1016200 w 2719388"/>
                <a:gd name="connsiteY75" fmla="*/ 393182 h 428271"/>
                <a:gd name="connsiteX76" fmla="*/ 1007652 w 2719388"/>
                <a:gd name="connsiteY76" fmla="*/ 376087 h 428271"/>
                <a:gd name="connsiteX77" fmla="*/ 1000454 w 2719388"/>
                <a:gd name="connsiteY77" fmla="*/ 337848 h 428271"/>
                <a:gd name="connsiteX78" fmla="*/ 994156 w 2719388"/>
                <a:gd name="connsiteY78" fmla="*/ 295111 h 428271"/>
                <a:gd name="connsiteX79" fmla="*/ 989658 w 2719388"/>
                <a:gd name="connsiteY79" fmla="*/ 264071 h 428271"/>
                <a:gd name="connsiteX80" fmla="*/ 971213 w 2719388"/>
                <a:gd name="connsiteY80" fmla="*/ 163301 h 428271"/>
                <a:gd name="connsiteX81" fmla="*/ 963116 w 2719388"/>
                <a:gd name="connsiteY81" fmla="*/ 96721 h 428271"/>
                <a:gd name="connsiteX82" fmla="*/ 962666 w 2719388"/>
                <a:gd name="connsiteY82" fmla="*/ 73778 h 428271"/>
                <a:gd name="connsiteX83" fmla="*/ 962216 w 2719388"/>
                <a:gd name="connsiteY83" fmla="*/ 54434 h 428271"/>
                <a:gd name="connsiteX84" fmla="*/ 962216 w 2719388"/>
                <a:gd name="connsiteY84" fmla="*/ 47686 h 428271"/>
                <a:gd name="connsiteX85" fmla="*/ 957717 w 2719388"/>
                <a:gd name="connsiteY85" fmla="*/ 25643 h 428271"/>
                <a:gd name="connsiteX86" fmla="*/ 1040492 w 2719388"/>
                <a:gd name="connsiteY86" fmla="*/ 18895 h 428271"/>
                <a:gd name="connsiteX87" fmla="*/ 1044091 w 2719388"/>
                <a:gd name="connsiteY87" fmla="*/ 30141 h 428271"/>
                <a:gd name="connsiteX88" fmla="*/ 1089977 w 2719388"/>
                <a:gd name="connsiteY88" fmla="*/ 21594 h 428271"/>
                <a:gd name="connsiteX89" fmla="*/ 1089977 w 2719388"/>
                <a:gd name="connsiteY89" fmla="*/ 18445 h 428271"/>
                <a:gd name="connsiteX90" fmla="*/ 1119668 w 2719388"/>
                <a:gd name="connsiteY90" fmla="*/ 13496 h 428271"/>
                <a:gd name="connsiteX91" fmla="*/ 1458417 w 2719388"/>
                <a:gd name="connsiteY91" fmla="*/ 9897 h 428271"/>
                <a:gd name="connsiteX92" fmla="*/ 1474612 w 2719388"/>
                <a:gd name="connsiteY92" fmla="*/ 13496 h 428271"/>
                <a:gd name="connsiteX93" fmla="*/ 1480010 w 2719388"/>
                <a:gd name="connsiteY93" fmla="*/ 11247 h 428271"/>
                <a:gd name="connsiteX94" fmla="*/ 1499356 w 2719388"/>
                <a:gd name="connsiteY94" fmla="*/ 13496 h 428271"/>
                <a:gd name="connsiteX95" fmla="*/ 1499356 w 2719388"/>
                <a:gd name="connsiteY95" fmla="*/ 33290 h 428271"/>
                <a:gd name="connsiteX96" fmla="*/ 1501605 w 2719388"/>
                <a:gd name="connsiteY96" fmla="*/ 43637 h 428271"/>
                <a:gd name="connsiteX97" fmla="*/ 1499805 w 2719388"/>
                <a:gd name="connsiteY97" fmla="*/ 53534 h 428271"/>
                <a:gd name="connsiteX98" fmla="*/ 1505654 w 2719388"/>
                <a:gd name="connsiteY98" fmla="*/ 51735 h 428271"/>
                <a:gd name="connsiteX99" fmla="*/ 1509253 w 2719388"/>
                <a:gd name="connsiteY99" fmla="*/ 64780 h 428271"/>
                <a:gd name="connsiteX100" fmla="*/ 1506553 w 2719388"/>
                <a:gd name="connsiteY100" fmla="*/ 69279 h 428271"/>
                <a:gd name="connsiteX101" fmla="*/ 1506103 w 2719388"/>
                <a:gd name="connsiteY101" fmla="*/ 71978 h 428271"/>
                <a:gd name="connsiteX102" fmla="*/ 1523198 w 2719388"/>
                <a:gd name="connsiteY102" fmla="*/ 84575 h 428271"/>
                <a:gd name="connsiteX103" fmla="*/ 1519150 w 2719388"/>
                <a:gd name="connsiteY103" fmla="*/ 148906 h 428271"/>
                <a:gd name="connsiteX104" fmla="*/ 1512402 w 2719388"/>
                <a:gd name="connsiteY104" fmla="*/ 245177 h 428271"/>
                <a:gd name="connsiteX105" fmla="*/ 1522298 w 2719388"/>
                <a:gd name="connsiteY105" fmla="*/ 404879 h 428271"/>
                <a:gd name="connsiteX106" fmla="*/ 1526797 w 2719388"/>
                <a:gd name="connsiteY106" fmla="*/ 425123 h 428271"/>
                <a:gd name="connsiteX107" fmla="*/ 1526797 w 2719388"/>
                <a:gd name="connsiteY107" fmla="*/ 427822 h 428271"/>
                <a:gd name="connsiteX108" fmla="*/ 1402184 w 2719388"/>
                <a:gd name="connsiteY108" fmla="*/ 427822 h 428271"/>
                <a:gd name="connsiteX109" fmla="*/ 1402184 w 2719388"/>
                <a:gd name="connsiteY109" fmla="*/ 422874 h 428271"/>
                <a:gd name="connsiteX110" fmla="*/ 1402184 w 2719388"/>
                <a:gd name="connsiteY110" fmla="*/ 351795 h 428271"/>
                <a:gd name="connsiteX111" fmla="*/ 1397235 w 2719388"/>
                <a:gd name="connsiteY111" fmla="*/ 194792 h 428271"/>
                <a:gd name="connsiteX112" fmla="*/ 1392737 w 2719388"/>
                <a:gd name="connsiteY112" fmla="*/ 138110 h 428271"/>
                <a:gd name="connsiteX113" fmla="*/ 1401284 w 2719388"/>
                <a:gd name="connsiteY113" fmla="*/ 118765 h 428271"/>
                <a:gd name="connsiteX114" fmla="*/ 1402634 w 2719388"/>
                <a:gd name="connsiteY114" fmla="*/ 86824 h 428271"/>
                <a:gd name="connsiteX115" fmla="*/ 1406232 w 2719388"/>
                <a:gd name="connsiteY115" fmla="*/ 62081 h 428271"/>
                <a:gd name="connsiteX116" fmla="*/ 1387788 w 2719388"/>
                <a:gd name="connsiteY116" fmla="*/ 41838 h 428271"/>
                <a:gd name="connsiteX117" fmla="*/ 1382390 w 2719388"/>
                <a:gd name="connsiteY117" fmla="*/ 22043 h 428271"/>
                <a:gd name="connsiteX118" fmla="*/ 1384189 w 2719388"/>
                <a:gd name="connsiteY118" fmla="*/ 13496 h 428271"/>
                <a:gd name="connsiteX119" fmla="*/ 1458417 w 2719388"/>
                <a:gd name="connsiteY119" fmla="*/ 9897 h 428271"/>
                <a:gd name="connsiteX120" fmla="*/ 2242532 w 2719388"/>
                <a:gd name="connsiteY120" fmla="*/ 8098 h 428271"/>
                <a:gd name="connsiteX121" fmla="*/ 2272223 w 2719388"/>
                <a:gd name="connsiteY121" fmla="*/ 10797 h 428271"/>
                <a:gd name="connsiteX122" fmla="*/ 2277622 w 2719388"/>
                <a:gd name="connsiteY122" fmla="*/ 11697 h 428271"/>
                <a:gd name="connsiteX123" fmla="*/ 2287969 w 2719388"/>
                <a:gd name="connsiteY123" fmla="*/ 16645 h 428271"/>
                <a:gd name="connsiteX124" fmla="*/ 2285719 w 2719388"/>
                <a:gd name="connsiteY124" fmla="*/ 41388 h 428271"/>
                <a:gd name="connsiteX125" fmla="*/ 2286169 w 2719388"/>
                <a:gd name="connsiteY125" fmla="*/ 44537 h 428271"/>
                <a:gd name="connsiteX126" fmla="*/ 2296966 w 2719388"/>
                <a:gd name="connsiteY126" fmla="*/ 63431 h 428271"/>
                <a:gd name="connsiteX127" fmla="*/ 2286169 w 2719388"/>
                <a:gd name="connsiteY127" fmla="*/ 93122 h 428271"/>
                <a:gd name="connsiteX128" fmla="*/ 2281670 w 2719388"/>
                <a:gd name="connsiteY128" fmla="*/ 117416 h 428271"/>
                <a:gd name="connsiteX129" fmla="*/ 2277172 w 2719388"/>
                <a:gd name="connsiteY129" fmla="*/ 149806 h 428271"/>
                <a:gd name="connsiteX130" fmla="*/ 2272223 w 2719388"/>
                <a:gd name="connsiteY130" fmla="*/ 181297 h 428271"/>
                <a:gd name="connsiteX131" fmla="*/ 2272673 w 2719388"/>
                <a:gd name="connsiteY131" fmla="*/ 227633 h 428271"/>
                <a:gd name="connsiteX132" fmla="*/ 2269974 w 2719388"/>
                <a:gd name="connsiteY132" fmla="*/ 278917 h 428271"/>
                <a:gd name="connsiteX133" fmla="*/ 2258728 w 2719388"/>
                <a:gd name="connsiteY133" fmla="*/ 331102 h 428271"/>
                <a:gd name="connsiteX134" fmla="*/ 2244332 w 2719388"/>
                <a:gd name="connsiteY134" fmla="*/ 384636 h 428271"/>
                <a:gd name="connsiteX135" fmla="*/ 2226337 w 2719388"/>
                <a:gd name="connsiteY135" fmla="*/ 427822 h 428271"/>
                <a:gd name="connsiteX136" fmla="*/ 2073382 w 2719388"/>
                <a:gd name="connsiteY136" fmla="*/ 427822 h 428271"/>
                <a:gd name="connsiteX137" fmla="*/ 2080580 w 2719388"/>
                <a:gd name="connsiteY137" fmla="*/ 398581 h 428271"/>
                <a:gd name="connsiteX138" fmla="*/ 2105773 w 2719388"/>
                <a:gd name="connsiteY138" fmla="*/ 318056 h 428271"/>
                <a:gd name="connsiteX139" fmla="*/ 2139062 w 2719388"/>
                <a:gd name="connsiteY139" fmla="*/ 217286 h 428271"/>
                <a:gd name="connsiteX140" fmla="*/ 2149409 w 2719388"/>
                <a:gd name="connsiteY140" fmla="*/ 149356 h 428271"/>
                <a:gd name="connsiteX141" fmla="*/ 2164705 w 2719388"/>
                <a:gd name="connsiteY141" fmla="*/ 82775 h 428271"/>
                <a:gd name="connsiteX142" fmla="*/ 2180000 w 2719388"/>
                <a:gd name="connsiteY142" fmla="*/ 57583 h 428271"/>
                <a:gd name="connsiteX143" fmla="*/ 2167404 w 2719388"/>
                <a:gd name="connsiteY143" fmla="*/ 42738 h 428271"/>
                <a:gd name="connsiteX144" fmla="*/ 2160206 w 2719388"/>
                <a:gd name="connsiteY144" fmla="*/ 26542 h 428271"/>
                <a:gd name="connsiteX145" fmla="*/ 2157507 w 2719388"/>
                <a:gd name="connsiteY145" fmla="*/ 15296 h 428271"/>
                <a:gd name="connsiteX146" fmla="*/ 2242532 w 2719388"/>
                <a:gd name="connsiteY146" fmla="*/ 8098 h 428271"/>
                <a:gd name="connsiteX147" fmla="*/ 1679309 w 2719388"/>
                <a:gd name="connsiteY147" fmla="*/ 7704 h 428271"/>
                <a:gd name="connsiteX148" fmla="*/ 1732386 w 2719388"/>
                <a:gd name="connsiteY148" fmla="*/ 15295 h 428271"/>
                <a:gd name="connsiteX149" fmla="*/ 1731936 w 2719388"/>
                <a:gd name="connsiteY149" fmla="*/ 22043 h 428271"/>
                <a:gd name="connsiteX150" fmla="*/ 1728787 w 2719388"/>
                <a:gd name="connsiteY150" fmla="*/ 36439 h 428271"/>
                <a:gd name="connsiteX151" fmla="*/ 1707643 w 2719388"/>
                <a:gd name="connsiteY151" fmla="*/ 43637 h 428271"/>
                <a:gd name="connsiteX152" fmla="*/ 1682451 w 2719388"/>
                <a:gd name="connsiteY152" fmla="*/ 62081 h 428271"/>
                <a:gd name="connsiteX153" fmla="*/ 1689199 w 2719388"/>
                <a:gd name="connsiteY153" fmla="*/ 86374 h 428271"/>
                <a:gd name="connsiteX154" fmla="*/ 1684700 w 2719388"/>
                <a:gd name="connsiteY154" fmla="*/ 112017 h 428271"/>
                <a:gd name="connsiteX155" fmla="*/ 1678852 w 2719388"/>
                <a:gd name="connsiteY155" fmla="*/ 154304 h 428271"/>
                <a:gd name="connsiteX156" fmla="*/ 1680651 w 2719388"/>
                <a:gd name="connsiteY156" fmla="*/ 217735 h 428271"/>
                <a:gd name="connsiteX157" fmla="*/ 1680651 w 2719388"/>
                <a:gd name="connsiteY157" fmla="*/ 237529 h 428271"/>
                <a:gd name="connsiteX158" fmla="*/ 1681101 w 2719388"/>
                <a:gd name="connsiteY158" fmla="*/ 274868 h 428271"/>
                <a:gd name="connsiteX159" fmla="*/ 1683351 w 2719388"/>
                <a:gd name="connsiteY159" fmla="*/ 309058 h 428271"/>
                <a:gd name="connsiteX160" fmla="*/ 1697296 w 2719388"/>
                <a:gd name="connsiteY160" fmla="*/ 426472 h 428271"/>
                <a:gd name="connsiteX161" fmla="*/ 1575832 w 2719388"/>
                <a:gd name="connsiteY161" fmla="*/ 426472 h 428271"/>
                <a:gd name="connsiteX162" fmla="*/ 1576282 w 2719388"/>
                <a:gd name="connsiteY162" fmla="*/ 420624 h 428271"/>
                <a:gd name="connsiteX163" fmla="*/ 1576282 w 2719388"/>
                <a:gd name="connsiteY163" fmla="*/ 386884 h 428271"/>
                <a:gd name="connsiteX164" fmla="*/ 1584379 w 2719388"/>
                <a:gd name="connsiteY164" fmla="*/ 346846 h 428271"/>
                <a:gd name="connsiteX165" fmla="*/ 1579431 w 2719388"/>
                <a:gd name="connsiteY165" fmla="*/ 266770 h 428271"/>
                <a:gd name="connsiteX166" fmla="*/ 1574032 w 2719388"/>
                <a:gd name="connsiteY166" fmla="*/ 133611 h 428271"/>
                <a:gd name="connsiteX167" fmla="*/ 1576732 w 2719388"/>
                <a:gd name="connsiteY167" fmla="*/ 61631 h 428271"/>
                <a:gd name="connsiteX168" fmla="*/ 1572233 w 2719388"/>
                <a:gd name="connsiteY168" fmla="*/ 30591 h 428271"/>
                <a:gd name="connsiteX169" fmla="*/ 1575832 w 2719388"/>
                <a:gd name="connsiteY169" fmla="*/ 23843 h 428271"/>
                <a:gd name="connsiteX170" fmla="*/ 1576282 w 2719388"/>
                <a:gd name="connsiteY170" fmla="*/ 11696 h 428271"/>
                <a:gd name="connsiteX171" fmla="*/ 1606873 w 2719388"/>
                <a:gd name="connsiteY171" fmla="*/ 11696 h 428271"/>
                <a:gd name="connsiteX172" fmla="*/ 1621269 w 2719388"/>
                <a:gd name="connsiteY172" fmla="*/ 14845 h 428271"/>
                <a:gd name="connsiteX173" fmla="*/ 1633415 w 2719388"/>
                <a:gd name="connsiteY173" fmla="*/ 9897 h 428271"/>
                <a:gd name="connsiteX174" fmla="*/ 1679309 w 2719388"/>
                <a:gd name="connsiteY174" fmla="*/ 7704 h 428271"/>
                <a:gd name="connsiteX175" fmla="*/ 22899 w 2719388"/>
                <a:gd name="connsiteY175" fmla="*/ 7648 h 428271"/>
                <a:gd name="connsiteX176" fmla="*/ 29647 w 2719388"/>
                <a:gd name="connsiteY176" fmla="*/ 15746 h 428271"/>
                <a:gd name="connsiteX177" fmla="*/ 53040 w 2719388"/>
                <a:gd name="connsiteY177" fmla="*/ 8548 h 428271"/>
                <a:gd name="connsiteX178" fmla="*/ 109723 w 2719388"/>
                <a:gd name="connsiteY178" fmla="*/ 8548 h 428271"/>
                <a:gd name="connsiteX179" fmla="*/ 126368 w 2719388"/>
                <a:gd name="connsiteY179" fmla="*/ 22944 h 428271"/>
                <a:gd name="connsiteX180" fmla="*/ 111073 w 2719388"/>
                <a:gd name="connsiteY180" fmla="*/ 39139 h 428271"/>
                <a:gd name="connsiteX181" fmla="*/ 102076 w 2719388"/>
                <a:gd name="connsiteY181" fmla="*/ 45887 h 428271"/>
                <a:gd name="connsiteX182" fmla="*/ 88580 w 2719388"/>
                <a:gd name="connsiteY182" fmla="*/ 63881 h 428271"/>
                <a:gd name="connsiteX183" fmla="*/ 75534 w 2719388"/>
                <a:gd name="connsiteY183" fmla="*/ 157003 h 428271"/>
                <a:gd name="connsiteX184" fmla="*/ 108374 w 2719388"/>
                <a:gd name="connsiteY184" fmla="*/ 294662 h 428271"/>
                <a:gd name="connsiteX185" fmla="*/ 121420 w 2719388"/>
                <a:gd name="connsiteY185" fmla="*/ 358093 h 428271"/>
                <a:gd name="connsiteX186" fmla="*/ 136715 w 2719388"/>
                <a:gd name="connsiteY186" fmla="*/ 389583 h 428271"/>
                <a:gd name="connsiteX187" fmla="*/ 139414 w 2719388"/>
                <a:gd name="connsiteY187" fmla="*/ 376987 h 428271"/>
                <a:gd name="connsiteX188" fmla="*/ 128617 w 2719388"/>
                <a:gd name="connsiteY188" fmla="*/ 281616 h 428271"/>
                <a:gd name="connsiteX189" fmla="*/ 127268 w 2719388"/>
                <a:gd name="connsiteY189" fmla="*/ 157003 h 428271"/>
                <a:gd name="connsiteX190" fmla="*/ 118720 w 2719388"/>
                <a:gd name="connsiteY190" fmla="*/ 108868 h 428271"/>
                <a:gd name="connsiteX191" fmla="*/ 113322 w 2719388"/>
                <a:gd name="connsiteY191" fmla="*/ 99421 h 428271"/>
                <a:gd name="connsiteX192" fmla="*/ 107924 w 2719388"/>
                <a:gd name="connsiteY192" fmla="*/ 64781 h 428271"/>
                <a:gd name="connsiteX193" fmla="*/ 130417 w 2719388"/>
                <a:gd name="connsiteY193" fmla="*/ 14396 h 428271"/>
                <a:gd name="connsiteX194" fmla="*/ 142113 w 2719388"/>
                <a:gd name="connsiteY194" fmla="*/ 13047 h 428271"/>
                <a:gd name="connsiteX195" fmla="*/ 144363 w 2719388"/>
                <a:gd name="connsiteY195" fmla="*/ 19795 h 428271"/>
                <a:gd name="connsiteX196" fmla="*/ 156959 w 2719388"/>
                <a:gd name="connsiteY196" fmla="*/ 12597 h 428271"/>
                <a:gd name="connsiteX197" fmla="*/ 209144 w 2719388"/>
                <a:gd name="connsiteY197" fmla="*/ 12597 h 428271"/>
                <a:gd name="connsiteX198" fmla="*/ 217242 w 2719388"/>
                <a:gd name="connsiteY198" fmla="*/ 20694 h 428271"/>
                <a:gd name="connsiteX199" fmla="*/ 192499 w 2719388"/>
                <a:gd name="connsiteY199" fmla="*/ 48136 h 428271"/>
                <a:gd name="connsiteX200" fmla="*/ 190700 w 2719388"/>
                <a:gd name="connsiteY200" fmla="*/ 50835 h 428271"/>
                <a:gd name="connsiteX201" fmla="*/ 172705 w 2719388"/>
                <a:gd name="connsiteY201" fmla="*/ 104819 h 428271"/>
                <a:gd name="connsiteX202" fmla="*/ 190700 w 2719388"/>
                <a:gd name="connsiteY202" fmla="*/ 231681 h 428271"/>
                <a:gd name="connsiteX203" fmla="*/ 210944 w 2719388"/>
                <a:gd name="connsiteY203" fmla="*/ 387334 h 428271"/>
                <a:gd name="connsiteX204" fmla="*/ 216792 w 2719388"/>
                <a:gd name="connsiteY204" fmla="*/ 415675 h 428271"/>
                <a:gd name="connsiteX205" fmla="*/ 217692 w 2719388"/>
                <a:gd name="connsiteY205" fmla="*/ 426022 h 428271"/>
                <a:gd name="connsiteX206" fmla="*/ 68336 w 2719388"/>
                <a:gd name="connsiteY206" fmla="*/ 426022 h 428271"/>
                <a:gd name="connsiteX207" fmla="*/ 38195 w 2719388"/>
                <a:gd name="connsiteY207" fmla="*/ 354044 h 428271"/>
                <a:gd name="connsiteX208" fmla="*/ 29647 w 2719388"/>
                <a:gd name="connsiteY208" fmla="*/ 209188 h 428271"/>
                <a:gd name="connsiteX209" fmla="*/ 30997 w 2719388"/>
                <a:gd name="connsiteY209" fmla="*/ 148006 h 428271"/>
                <a:gd name="connsiteX210" fmla="*/ 19300 w 2719388"/>
                <a:gd name="connsiteY210" fmla="*/ 106619 h 428271"/>
                <a:gd name="connsiteX211" fmla="*/ 14802 w 2719388"/>
                <a:gd name="connsiteY211" fmla="*/ 100770 h 428271"/>
                <a:gd name="connsiteX212" fmla="*/ 856 w 2719388"/>
                <a:gd name="connsiteY212" fmla="*/ 62982 h 428271"/>
                <a:gd name="connsiteX213" fmla="*/ 14802 w 2719388"/>
                <a:gd name="connsiteY213" fmla="*/ 9898 h 428271"/>
                <a:gd name="connsiteX214" fmla="*/ 1939147 w 2719388"/>
                <a:gd name="connsiteY214" fmla="*/ 7127 h 428271"/>
                <a:gd name="connsiteX215" fmla="*/ 1964066 w 2719388"/>
                <a:gd name="connsiteY215" fmla="*/ 8098 h 428271"/>
                <a:gd name="connsiteX216" fmla="*/ 2017600 w 2719388"/>
                <a:gd name="connsiteY216" fmla="*/ 13046 h 428271"/>
                <a:gd name="connsiteX217" fmla="*/ 2018500 w 2719388"/>
                <a:gd name="connsiteY217" fmla="*/ 7198 h 428271"/>
                <a:gd name="connsiteX218" fmla="*/ 2066635 w 2719388"/>
                <a:gd name="connsiteY218" fmla="*/ 12596 h 428271"/>
                <a:gd name="connsiteX219" fmla="*/ 2066635 w 2719388"/>
                <a:gd name="connsiteY219" fmla="*/ 25192 h 428271"/>
                <a:gd name="connsiteX220" fmla="*/ 2059437 w 2719388"/>
                <a:gd name="connsiteY220" fmla="*/ 82775 h 428271"/>
                <a:gd name="connsiteX221" fmla="*/ 2056738 w 2719388"/>
                <a:gd name="connsiteY221" fmla="*/ 103469 h 428271"/>
                <a:gd name="connsiteX222" fmla="*/ 2055388 w 2719388"/>
                <a:gd name="connsiteY222" fmla="*/ 144856 h 428271"/>
                <a:gd name="connsiteX223" fmla="*/ 2054939 w 2719388"/>
                <a:gd name="connsiteY223" fmla="*/ 148005 h 428271"/>
                <a:gd name="connsiteX224" fmla="*/ 2054939 w 2719388"/>
                <a:gd name="connsiteY224" fmla="*/ 156103 h 428271"/>
                <a:gd name="connsiteX225" fmla="*/ 2049990 w 2719388"/>
                <a:gd name="connsiteY225" fmla="*/ 281615 h 428271"/>
                <a:gd name="connsiteX226" fmla="*/ 2049990 w 2719388"/>
                <a:gd name="connsiteY226" fmla="*/ 283415 h 428271"/>
                <a:gd name="connsiteX227" fmla="*/ 2049090 w 2719388"/>
                <a:gd name="connsiteY227" fmla="*/ 302759 h 428271"/>
                <a:gd name="connsiteX228" fmla="*/ 2046391 w 2719388"/>
                <a:gd name="connsiteY228" fmla="*/ 326152 h 428271"/>
                <a:gd name="connsiteX229" fmla="*/ 2045491 w 2719388"/>
                <a:gd name="connsiteY229" fmla="*/ 336948 h 428271"/>
                <a:gd name="connsiteX230" fmla="*/ 2041443 w 2719388"/>
                <a:gd name="connsiteY230" fmla="*/ 352694 h 428271"/>
                <a:gd name="connsiteX231" fmla="*/ 2040993 w 2719388"/>
                <a:gd name="connsiteY231" fmla="*/ 358992 h 428271"/>
                <a:gd name="connsiteX232" fmla="*/ 2039643 w 2719388"/>
                <a:gd name="connsiteY232" fmla="*/ 382835 h 428271"/>
                <a:gd name="connsiteX233" fmla="*/ 2042792 w 2719388"/>
                <a:gd name="connsiteY233" fmla="*/ 397680 h 428271"/>
                <a:gd name="connsiteX234" fmla="*/ 2047291 w 2719388"/>
                <a:gd name="connsiteY234" fmla="*/ 427821 h 428271"/>
                <a:gd name="connsiteX235" fmla="*/ 1901534 w 2719388"/>
                <a:gd name="connsiteY235" fmla="*/ 427821 h 428271"/>
                <a:gd name="connsiteX236" fmla="*/ 1912330 w 2719388"/>
                <a:gd name="connsiteY236" fmla="*/ 285214 h 428271"/>
                <a:gd name="connsiteX237" fmla="*/ 1939322 w 2719388"/>
                <a:gd name="connsiteY237" fmla="*/ 137658 h 428271"/>
                <a:gd name="connsiteX238" fmla="*/ 1940222 w 2719388"/>
                <a:gd name="connsiteY238" fmla="*/ 114715 h 428271"/>
                <a:gd name="connsiteX239" fmla="*/ 1944721 w 2719388"/>
                <a:gd name="connsiteY239" fmla="*/ 93572 h 428271"/>
                <a:gd name="connsiteX240" fmla="*/ 1935723 w 2719388"/>
                <a:gd name="connsiteY240" fmla="*/ 71978 h 428271"/>
                <a:gd name="connsiteX241" fmla="*/ 1926726 w 2719388"/>
                <a:gd name="connsiteY241" fmla="*/ 58932 h 428271"/>
                <a:gd name="connsiteX242" fmla="*/ 1897485 w 2719388"/>
                <a:gd name="connsiteY242" fmla="*/ 44986 h 428271"/>
                <a:gd name="connsiteX243" fmla="*/ 1860596 w 2719388"/>
                <a:gd name="connsiteY243" fmla="*/ 41388 h 428271"/>
                <a:gd name="connsiteX244" fmla="*/ 1848000 w 2719388"/>
                <a:gd name="connsiteY244" fmla="*/ 24293 h 428271"/>
                <a:gd name="connsiteX245" fmla="*/ 1843051 w 2719388"/>
                <a:gd name="connsiteY245" fmla="*/ 18894 h 428271"/>
                <a:gd name="connsiteX246" fmla="*/ 1939147 w 2719388"/>
                <a:gd name="connsiteY246" fmla="*/ 7127 h 428271"/>
                <a:gd name="connsiteX247" fmla="*/ 383690 w 2719388"/>
                <a:gd name="connsiteY247" fmla="*/ 3599 h 428271"/>
                <a:gd name="connsiteX248" fmla="*/ 506953 w 2719388"/>
                <a:gd name="connsiteY248" fmla="*/ 3599 h 428271"/>
                <a:gd name="connsiteX249" fmla="*/ 515950 w 2719388"/>
                <a:gd name="connsiteY249" fmla="*/ 4949 h 428271"/>
                <a:gd name="connsiteX250" fmla="*/ 515051 w 2719388"/>
                <a:gd name="connsiteY250" fmla="*/ 27892 h 428271"/>
                <a:gd name="connsiteX251" fmla="*/ 512801 w 2719388"/>
                <a:gd name="connsiteY251" fmla="*/ 39588 h 428271"/>
                <a:gd name="connsiteX252" fmla="*/ 519099 w 2719388"/>
                <a:gd name="connsiteY252" fmla="*/ 55783 h 428271"/>
                <a:gd name="connsiteX253" fmla="*/ 523598 w 2719388"/>
                <a:gd name="connsiteY253" fmla="*/ 70629 h 428271"/>
                <a:gd name="connsiteX254" fmla="*/ 524948 w 2719388"/>
                <a:gd name="connsiteY254" fmla="*/ 79626 h 428271"/>
                <a:gd name="connsiteX255" fmla="*/ 524498 w 2719388"/>
                <a:gd name="connsiteY255" fmla="*/ 88623 h 428271"/>
                <a:gd name="connsiteX256" fmla="*/ 522248 w 2719388"/>
                <a:gd name="connsiteY256" fmla="*/ 117415 h 428271"/>
                <a:gd name="connsiteX257" fmla="*/ 515950 w 2719388"/>
                <a:gd name="connsiteY257" fmla="*/ 139908 h 428271"/>
                <a:gd name="connsiteX258" fmla="*/ 512801 w 2719388"/>
                <a:gd name="connsiteY258" fmla="*/ 168249 h 428271"/>
                <a:gd name="connsiteX259" fmla="*/ 520449 w 2719388"/>
                <a:gd name="connsiteY259" fmla="*/ 218184 h 428271"/>
                <a:gd name="connsiteX260" fmla="*/ 531246 w 2719388"/>
                <a:gd name="connsiteY260" fmla="*/ 311306 h 428271"/>
                <a:gd name="connsiteX261" fmla="*/ 533495 w 2719388"/>
                <a:gd name="connsiteY261" fmla="*/ 428271 h 428271"/>
                <a:gd name="connsiteX262" fmla="*/ 412032 w 2719388"/>
                <a:gd name="connsiteY262" fmla="*/ 428271 h 428271"/>
                <a:gd name="connsiteX263" fmla="*/ 414281 w 2719388"/>
                <a:gd name="connsiteY263" fmla="*/ 402629 h 428271"/>
                <a:gd name="connsiteX264" fmla="*/ 415630 w 2719388"/>
                <a:gd name="connsiteY264" fmla="*/ 384184 h 428271"/>
                <a:gd name="connsiteX265" fmla="*/ 413381 w 2719388"/>
                <a:gd name="connsiteY265" fmla="*/ 333350 h 428271"/>
                <a:gd name="connsiteX266" fmla="*/ 413381 w 2719388"/>
                <a:gd name="connsiteY266" fmla="*/ 231230 h 428271"/>
                <a:gd name="connsiteX267" fmla="*/ 423728 w 2719388"/>
                <a:gd name="connsiteY267" fmla="*/ 138109 h 428271"/>
                <a:gd name="connsiteX268" fmla="*/ 430476 w 2719388"/>
                <a:gd name="connsiteY268" fmla="*/ 119664 h 428271"/>
                <a:gd name="connsiteX269" fmla="*/ 412032 w 2719388"/>
                <a:gd name="connsiteY269" fmla="*/ 88623 h 428271"/>
                <a:gd name="connsiteX270" fmla="*/ 409782 w 2719388"/>
                <a:gd name="connsiteY270" fmla="*/ 58932 h 428271"/>
                <a:gd name="connsiteX271" fmla="*/ 394937 w 2719388"/>
                <a:gd name="connsiteY271" fmla="*/ 41837 h 428271"/>
                <a:gd name="connsiteX272" fmla="*/ 361647 w 2719388"/>
                <a:gd name="connsiteY272" fmla="*/ 34640 h 428271"/>
                <a:gd name="connsiteX273" fmla="*/ 355799 w 2719388"/>
                <a:gd name="connsiteY273" fmla="*/ 23393 h 428271"/>
                <a:gd name="connsiteX274" fmla="*/ 351300 w 2719388"/>
                <a:gd name="connsiteY274" fmla="*/ 15295 h 428271"/>
                <a:gd name="connsiteX275" fmla="*/ 383690 w 2719388"/>
                <a:gd name="connsiteY275" fmla="*/ 3599 h 428271"/>
                <a:gd name="connsiteX276" fmla="*/ 762026 w 2719388"/>
                <a:gd name="connsiteY276" fmla="*/ 0 h 428271"/>
                <a:gd name="connsiteX277" fmla="*/ 783620 w 2719388"/>
                <a:gd name="connsiteY277" fmla="*/ 31940 h 428271"/>
                <a:gd name="connsiteX278" fmla="*/ 771923 w 2719388"/>
                <a:gd name="connsiteY278" fmla="*/ 46786 h 428271"/>
                <a:gd name="connsiteX279" fmla="*/ 762926 w 2719388"/>
                <a:gd name="connsiteY279" fmla="*/ 63881 h 428271"/>
                <a:gd name="connsiteX280" fmla="*/ 762026 w 2719388"/>
                <a:gd name="connsiteY280" fmla="*/ 98070 h 428271"/>
                <a:gd name="connsiteX281" fmla="*/ 744931 w 2719388"/>
                <a:gd name="connsiteY281" fmla="*/ 126863 h 428271"/>
                <a:gd name="connsiteX282" fmla="*/ 753029 w 2719388"/>
                <a:gd name="connsiteY282" fmla="*/ 243378 h 428271"/>
                <a:gd name="connsiteX283" fmla="*/ 729186 w 2719388"/>
                <a:gd name="connsiteY283" fmla="*/ 398581 h 428271"/>
                <a:gd name="connsiteX284" fmla="*/ 729636 w 2719388"/>
                <a:gd name="connsiteY284" fmla="*/ 427372 h 428271"/>
                <a:gd name="connsiteX285" fmla="*/ 609972 w 2719388"/>
                <a:gd name="connsiteY285" fmla="*/ 427372 h 428271"/>
                <a:gd name="connsiteX286" fmla="*/ 624368 w 2719388"/>
                <a:gd name="connsiteY286" fmla="*/ 327952 h 428271"/>
                <a:gd name="connsiteX287" fmla="*/ 631565 w 2719388"/>
                <a:gd name="connsiteY287" fmla="*/ 216386 h 428271"/>
                <a:gd name="connsiteX288" fmla="*/ 635614 w 2719388"/>
                <a:gd name="connsiteY288" fmla="*/ 164202 h 428271"/>
                <a:gd name="connsiteX289" fmla="*/ 643262 w 2719388"/>
                <a:gd name="connsiteY289" fmla="*/ 106168 h 428271"/>
                <a:gd name="connsiteX290" fmla="*/ 654059 w 2719388"/>
                <a:gd name="connsiteY290" fmla="*/ 72428 h 428271"/>
                <a:gd name="connsiteX291" fmla="*/ 654059 w 2719388"/>
                <a:gd name="connsiteY291" fmla="*/ 69729 h 428271"/>
                <a:gd name="connsiteX292" fmla="*/ 656308 w 2719388"/>
                <a:gd name="connsiteY292" fmla="*/ 55783 h 428271"/>
                <a:gd name="connsiteX293" fmla="*/ 659457 w 2719388"/>
                <a:gd name="connsiteY293" fmla="*/ 52184 h 428271"/>
                <a:gd name="connsiteX294" fmla="*/ 673853 w 2719388"/>
                <a:gd name="connsiteY294" fmla="*/ 36889 h 428271"/>
                <a:gd name="connsiteX295" fmla="*/ 672953 w 2719388"/>
                <a:gd name="connsiteY295" fmla="*/ 28341 h 428271"/>
                <a:gd name="connsiteX296" fmla="*/ 671154 w 2719388"/>
                <a:gd name="connsiteY296" fmla="*/ 14845 h 428271"/>
                <a:gd name="connsiteX297" fmla="*/ 672503 w 2719388"/>
                <a:gd name="connsiteY297" fmla="*/ 900 h 428271"/>
                <a:gd name="connsiteX298" fmla="*/ 762026 w 2719388"/>
                <a:gd name="connsiteY298" fmla="*/ 0 h 42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</a:cxnLst>
              <a:rect l="l" t="t" r="r" b="b"/>
              <a:pathLst>
                <a:path w="2719388" h="428271">
                  <a:moveTo>
                    <a:pt x="1087278" y="113816"/>
                  </a:moveTo>
                  <a:cubicBezTo>
                    <a:pt x="1087278" y="113816"/>
                    <a:pt x="1087728" y="154753"/>
                    <a:pt x="1087278" y="166450"/>
                  </a:cubicBezTo>
                  <a:cubicBezTo>
                    <a:pt x="1086828" y="173648"/>
                    <a:pt x="1086828" y="178147"/>
                    <a:pt x="1086379" y="180396"/>
                  </a:cubicBezTo>
                  <a:cubicBezTo>
                    <a:pt x="1086379" y="179496"/>
                    <a:pt x="1086828" y="178597"/>
                    <a:pt x="1086828" y="178147"/>
                  </a:cubicBezTo>
                  <a:cubicBezTo>
                    <a:pt x="1087728" y="172748"/>
                    <a:pt x="1089977" y="163751"/>
                    <a:pt x="1092677" y="159252"/>
                  </a:cubicBezTo>
                  <a:cubicBezTo>
                    <a:pt x="1096725" y="152504"/>
                    <a:pt x="1100774" y="139908"/>
                    <a:pt x="1100324" y="133160"/>
                  </a:cubicBezTo>
                  <a:cubicBezTo>
                    <a:pt x="1099875" y="126412"/>
                    <a:pt x="1087278" y="113816"/>
                    <a:pt x="1087278" y="113816"/>
                  </a:cubicBezTo>
                  <a:close/>
                  <a:moveTo>
                    <a:pt x="2629135" y="19119"/>
                  </a:moveTo>
                  <a:cubicBezTo>
                    <a:pt x="2645499" y="18332"/>
                    <a:pt x="2662031" y="18895"/>
                    <a:pt x="2669454" y="23393"/>
                  </a:cubicBezTo>
                  <a:cubicBezTo>
                    <a:pt x="2669454" y="23393"/>
                    <a:pt x="2676201" y="32840"/>
                    <a:pt x="2676201" y="46786"/>
                  </a:cubicBezTo>
                  <a:cubicBezTo>
                    <a:pt x="2676201" y="60732"/>
                    <a:pt x="2683849" y="75577"/>
                    <a:pt x="2689248" y="79176"/>
                  </a:cubicBezTo>
                  <a:cubicBezTo>
                    <a:pt x="2694646" y="82775"/>
                    <a:pt x="2696445" y="75127"/>
                    <a:pt x="2697795" y="62081"/>
                  </a:cubicBezTo>
                  <a:cubicBezTo>
                    <a:pt x="2699144" y="49035"/>
                    <a:pt x="2700944" y="25192"/>
                    <a:pt x="2700944" y="25192"/>
                  </a:cubicBezTo>
                  <a:lnTo>
                    <a:pt x="2707692" y="25642"/>
                  </a:lnTo>
                  <a:cubicBezTo>
                    <a:pt x="2707692" y="25642"/>
                    <a:pt x="2710391" y="101219"/>
                    <a:pt x="2719388" y="123714"/>
                  </a:cubicBezTo>
                  <a:cubicBezTo>
                    <a:pt x="2719388" y="123714"/>
                    <a:pt x="2713540" y="153405"/>
                    <a:pt x="2691947" y="166451"/>
                  </a:cubicBezTo>
                  <a:cubicBezTo>
                    <a:pt x="2691947" y="166451"/>
                    <a:pt x="2684749" y="183545"/>
                    <a:pt x="2691497" y="236180"/>
                  </a:cubicBezTo>
                  <a:cubicBezTo>
                    <a:pt x="2697795" y="287014"/>
                    <a:pt x="2700944" y="361692"/>
                    <a:pt x="2681600" y="426922"/>
                  </a:cubicBezTo>
                  <a:lnTo>
                    <a:pt x="2598374" y="426922"/>
                  </a:lnTo>
                  <a:cubicBezTo>
                    <a:pt x="2602424" y="418825"/>
                    <a:pt x="2605573" y="409378"/>
                    <a:pt x="2606922" y="403529"/>
                  </a:cubicBezTo>
                  <a:cubicBezTo>
                    <a:pt x="2609172" y="393182"/>
                    <a:pt x="2608722" y="400380"/>
                    <a:pt x="2629415" y="309508"/>
                  </a:cubicBezTo>
                  <a:cubicBezTo>
                    <a:pt x="2650110" y="218635"/>
                    <a:pt x="2645161" y="205139"/>
                    <a:pt x="2643362" y="188494"/>
                  </a:cubicBezTo>
                  <a:cubicBezTo>
                    <a:pt x="2641562" y="171849"/>
                    <a:pt x="2638413" y="166451"/>
                    <a:pt x="2636614" y="154754"/>
                  </a:cubicBezTo>
                  <a:cubicBezTo>
                    <a:pt x="2634814" y="143058"/>
                    <a:pt x="2634814" y="120563"/>
                    <a:pt x="2631665" y="112466"/>
                  </a:cubicBezTo>
                  <a:cubicBezTo>
                    <a:pt x="2628516" y="104818"/>
                    <a:pt x="2617269" y="84574"/>
                    <a:pt x="2616820" y="86824"/>
                  </a:cubicBezTo>
                  <a:cubicBezTo>
                    <a:pt x="2615920" y="89523"/>
                    <a:pt x="2619519" y="104818"/>
                    <a:pt x="2619069" y="125063"/>
                  </a:cubicBezTo>
                  <a:cubicBezTo>
                    <a:pt x="2618169" y="145307"/>
                    <a:pt x="2599275" y="157003"/>
                    <a:pt x="2599275" y="157003"/>
                  </a:cubicBezTo>
                  <a:cubicBezTo>
                    <a:pt x="2599275" y="157003"/>
                    <a:pt x="2591626" y="174998"/>
                    <a:pt x="2589377" y="195692"/>
                  </a:cubicBezTo>
                  <a:cubicBezTo>
                    <a:pt x="2587128" y="216386"/>
                    <a:pt x="2589377" y="263621"/>
                    <a:pt x="2589377" y="283415"/>
                  </a:cubicBezTo>
                  <a:cubicBezTo>
                    <a:pt x="2589377" y="303209"/>
                    <a:pt x="2596125" y="328852"/>
                    <a:pt x="2596575" y="340548"/>
                  </a:cubicBezTo>
                  <a:cubicBezTo>
                    <a:pt x="2597474" y="352245"/>
                    <a:pt x="2595225" y="370689"/>
                    <a:pt x="2592976" y="379686"/>
                  </a:cubicBezTo>
                  <a:cubicBezTo>
                    <a:pt x="2590276" y="389134"/>
                    <a:pt x="2586228" y="409378"/>
                    <a:pt x="2584878" y="419724"/>
                  </a:cubicBezTo>
                  <a:cubicBezTo>
                    <a:pt x="2584428" y="422423"/>
                    <a:pt x="2584428" y="425123"/>
                    <a:pt x="2586228" y="427822"/>
                  </a:cubicBezTo>
                  <a:lnTo>
                    <a:pt x="2510200" y="427822"/>
                  </a:lnTo>
                  <a:cubicBezTo>
                    <a:pt x="2513350" y="421524"/>
                    <a:pt x="2516049" y="415675"/>
                    <a:pt x="2516049" y="409378"/>
                  </a:cubicBezTo>
                  <a:cubicBezTo>
                    <a:pt x="2516049" y="401730"/>
                    <a:pt x="2514699" y="339649"/>
                    <a:pt x="2520997" y="314456"/>
                  </a:cubicBezTo>
                  <a:cubicBezTo>
                    <a:pt x="2526846" y="289264"/>
                    <a:pt x="2543041" y="206488"/>
                    <a:pt x="2541691" y="157903"/>
                  </a:cubicBezTo>
                  <a:cubicBezTo>
                    <a:pt x="2540342" y="109317"/>
                    <a:pt x="2529095" y="77377"/>
                    <a:pt x="2521897" y="67029"/>
                  </a:cubicBezTo>
                  <a:cubicBezTo>
                    <a:pt x="2521897" y="67029"/>
                    <a:pt x="2516049" y="59382"/>
                    <a:pt x="2492656" y="58032"/>
                  </a:cubicBezTo>
                  <a:cubicBezTo>
                    <a:pt x="2492656" y="58032"/>
                    <a:pt x="2478260" y="59382"/>
                    <a:pt x="2477810" y="47685"/>
                  </a:cubicBezTo>
                  <a:cubicBezTo>
                    <a:pt x="2477361" y="35989"/>
                    <a:pt x="2480509" y="22493"/>
                    <a:pt x="2507951" y="22493"/>
                  </a:cubicBezTo>
                  <a:cubicBezTo>
                    <a:pt x="2535393" y="22493"/>
                    <a:pt x="2554287" y="20693"/>
                    <a:pt x="2558786" y="28791"/>
                  </a:cubicBezTo>
                  <a:cubicBezTo>
                    <a:pt x="2563285" y="36889"/>
                    <a:pt x="2571832" y="72428"/>
                    <a:pt x="2585778" y="85924"/>
                  </a:cubicBezTo>
                  <a:cubicBezTo>
                    <a:pt x="2599724" y="99420"/>
                    <a:pt x="2599724" y="98070"/>
                    <a:pt x="2602874" y="86374"/>
                  </a:cubicBezTo>
                  <a:cubicBezTo>
                    <a:pt x="2605573" y="74677"/>
                    <a:pt x="2605123" y="69729"/>
                    <a:pt x="2605123" y="69729"/>
                  </a:cubicBezTo>
                  <a:cubicBezTo>
                    <a:pt x="2605123" y="69729"/>
                    <a:pt x="2609622" y="68379"/>
                    <a:pt x="2605123" y="66130"/>
                  </a:cubicBezTo>
                  <a:cubicBezTo>
                    <a:pt x="2600625" y="63431"/>
                    <a:pt x="2586228" y="60281"/>
                    <a:pt x="2581729" y="54883"/>
                  </a:cubicBezTo>
                  <a:cubicBezTo>
                    <a:pt x="2577680" y="49035"/>
                    <a:pt x="2576781" y="41387"/>
                    <a:pt x="2579929" y="36889"/>
                  </a:cubicBezTo>
                  <a:cubicBezTo>
                    <a:pt x="2583079" y="32840"/>
                    <a:pt x="2576331" y="24742"/>
                    <a:pt x="2589827" y="22943"/>
                  </a:cubicBezTo>
                  <a:cubicBezTo>
                    <a:pt x="2596575" y="22043"/>
                    <a:pt x="2612771" y="19907"/>
                    <a:pt x="2629135" y="19119"/>
                  </a:cubicBezTo>
                  <a:close/>
                  <a:moveTo>
                    <a:pt x="1119668" y="13496"/>
                  </a:moveTo>
                  <a:lnTo>
                    <a:pt x="1143961" y="17995"/>
                  </a:lnTo>
                  <a:cubicBezTo>
                    <a:pt x="1147110" y="15295"/>
                    <a:pt x="1151609" y="15295"/>
                    <a:pt x="1158807" y="14846"/>
                  </a:cubicBezTo>
                  <a:cubicBezTo>
                    <a:pt x="1166005" y="14396"/>
                    <a:pt x="1262726" y="14846"/>
                    <a:pt x="1271723" y="14846"/>
                  </a:cubicBezTo>
                  <a:cubicBezTo>
                    <a:pt x="1280720" y="14846"/>
                    <a:pt x="1291067" y="17545"/>
                    <a:pt x="1294666" y="19794"/>
                  </a:cubicBezTo>
                  <a:cubicBezTo>
                    <a:pt x="1298265" y="22043"/>
                    <a:pt x="1298265" y="22943"/>
                    <a:pt x="1298265" y="22943"/>
                  </a:cubicBezTo>
                  <a:cubicBezTo>
                    <a:pt x="1298265" y="22943"/>
                    <a:pt x="1297365" y="30141"/>
                    <a:pt x="1296015" y="32840"/>
                  </a:cubicBezTo>
                  <a:cubicBezTo>
                    <a:pt x="1294666" y="35989"/>
                    <a:pt x="1293766" y="37339"/>
                    <a:pt x="1289717" y="39139"/>
                  </a:cubicBezTo>
                  <a:cubicBezTo>
                    <a:pt x="1289267" y="41388"/>
                    <a:pt x="1287468" y="44087"/>
                    <a:pt x="1284319" y="46336"/>
                  </a:cubicBezTo>
                  <a:cubicBezTo>
                    <a:pt x="1276671" y="51285"/>
                    <a:pt x="1258227" y="52634"/>
                    <a:pt x="1251479" y="54884"/>
                  </a:cubicBezTo>
                  <a:cubicBezTo>
                    <a:pt x="1245181" y="57133"/>
                    <a:pt x="1239782" y="61632"/>
                    <a:pt x="1234384" y="66580"/>
                  </a:cubicBezTo>
                  <a:cubicBezTo>
                    <a:pt x="1228986" y="71529"/>
                    <a:pt x="1224937" y="72878"/>
                    <a:pt x="1219538" y="80076"/>
                  </a:cubicBezTo>
                  <a:cubicBezTo>
                    <a:pt x="1214590" y="86824"/>
                    <a:pt x="1208742" y="95821"/>
                    <a:pt x="1207392" y="100320"/>
                  </a:cubicBezTo>
                  <a:cubicBezTo>
                    <a:pt x="1206042" y="105268"/>
                    <a:pt x="1208292" y="119214"/>
                    <a:pt x="1210541" y="124613"/>
                  </a:cubicBezTo>
                  <a:cubicBezTo>
                    <a:pt x="1212790" y="130461"/>
                    <a:pt x="1213690" y="135409"/>
                    <a:pt x="1210991" y="139008"/>
                  </a:cubicBezTo>
                  <a:cubicBezTo>
                    <a:pt x="1208742" y="142607"/>
                    <a:pt x="1202893" y="143507"/>
                    <a:pt x="1200644" y="147106"/>
                  </a:cubicBezTo>
                  <a:cubicBezTo>
                    <a:pt x="1198395" y="150705"/>
                    <a:pt x="1203793" y="161951"/>
                    <a:pt x="1206042" y="166900"/>
                  </a:cubicBezTo>
                  <a:cubicBezTo>
                    <a:pt x="1208292" y="171849"/>
                    <a:pt x="1203343" y="177247"/>
                    <a:pt x="1201094" y="183095"/>
                  </a:cubicBezTo>
                  <a:cubicBezTo>
                    <a:pt x="1198845" y="188943"/>
                    <a:pt x="1192997" y="225832"/>
                    <a:pt x="1189397" y="243377"/>
                  </a:cubicBezTo>
                  <a:cubicBezTo>
                    <a:pt x="1185799" y="261371"/>
                    <a:pt x="1180850" y="284764"/>
                    <a:pt x="1179501" y="289263"/>
                  </a:cubicBezTo>
                  <a:cubicBezTo>
                    <a:pt x="1178151" y="293312"/>
                    <a:pt x="1183999" y="299160"/>
                    <a:pt x="1186698" y="311307"/>
                  </a:cubicBezTo>
                  <a:cubicBezTo>
                    <a:pt x="1189397" y="323003"/>
                    <a:pt x="1192997" y="349545"/>
                    <a:pt x="1196145" y="379686"/>
                  </a:cubicBezTo>
                  <a:cubicBezTo>
                    <a:pt x="1197495" y="391832"/>
                    <a:pt x="1198845" y="409377"/>
                    <a:pt x="1199745" y="427372"/>
                  </a:cubicBezTo>
                  <a:lnTo>
                    <a:pt x="1029246" y="427372"/>
                  </a:lnTo>
                  <a:cubicBezTo>
                    <a:pt x="1026097" y="424222"/>
                    <a:pt x="1022498" y="421973"/>
                    <a:pt x="1021148" y="419724"/>
                  </a:cubicBezTo>
                  <a:cubicBezTo>
                    <a:pt x="1017999" y="415225"/>
                    <a:pt x="1016650" y="398130"/>
                    <a:pt x="1016200" y="393182"/>
                  </a:cubicBezTo>
                  <a:cubicBezTo>
                    <a:pt x="1015750" y="388233"/>
                    <a:pt x="1009002" y="385534"/>
                    <a:pt x="1007652" y="376087"/>
                  </a:cubicBezTo>
                  <a:cubicBezTo>
                    <a:pt x="1006753" y="366640"/>
                    <a:pt x="1004053" y="348645"/>
                    <a:pt x="1000454" y="337848"/>
                  </a:cubicBezTo>
                  <a:cubicBezTo>
                    <a:pt x="996855" y="327052"/>
                    <a:pt x="997305" y="304559"/>
                    <a:pt x="994156" y="295111"/>
                  </a:cubicBezTo>
                  <a:cubicBezTo>
                    <a:pt x="991007" y="285214"/>
                    <a:pt x="991907" y="273518"/>
                    <a:pt x="989658" y="264071"/>
                  </a:cubicBezTo>
                  <a:cubicBezTo>
                    <a:pt x="987408" y="254623"/>
                    <a:pt x="974812" y="179496"/>
                    <a:pt x="971213" y="163301"/>
                  </a:cubicBezTo>
                  <a:cubicBezTo>
                    <a:pt x="967614" y="147106"/>
                    <a:pt x="963566" y="104369"/>
                    <a:pt x="963116" y="96721"/>
                  </a:cubicBezTo>
                  <a:cubicBezTo>
                    <a:pt x="962666" y="89073"/>
                    <a:pt x="960866" y="80076"/>
                    <a:pt x="962666" y="73778"/>
                  </a:cubicBezTo>
                  <a:cubicBezTo>
                    <a:pt x="964465" y="67030"/>
                    <a:pt x="961766" y="58932"/>
                    <a:pt x="962216" y="54434"/>
                  </a:cubicBezTo>
                  <a:cubicBezTo>
                    <a:pt x="962666" y="49935"/>
                    <a:pt x="964915" y="49035"/>
                    <a:pt x="962216" y="47686"/>
                  </a:cubicBezTo>
                  <a:cubicBezTo>
                    <a:pt x="959067" y="46336"/>
                    <a:pt x="957717" y="25643"/>
                    <a:pt x="957717" y="25643"/>
                  </a:cubicBezTo>
                  <a:cubicBezTo>
                    <a:pt x="1001354" y="13496"/>
                    <a:pt x="1039593" y="17995"/>
                    <a:pt x="1040492" y="18895"/>
                  </a:cubicBezTo>
                  <a:cubicBezTo>
                    <a:pt x="1041392" y="19794"/>
                    <a:pt x="1044091" y="30141"/>
                    <a:pt x="1044091" y="30141"/>
                  </a:cubicBezTo>
                  <a:cubicBezTo>
                    <a:pt x="1062086" y="23843"/>
                    <a:pt x="1089977" y="21594"/>
                    <a:pt x="1089977" y="21594"/>
                  </a:cubicBezTo>
                  <a:cubicBezTo>
                    <a:pt x="1089528" y="18895"/>
                    <a:pt x="1089977" y="18445"/>
                    <a:pt x="1089977" y="18445"/>
                  </a:cubicBezTo>
                  <a:cubicBezTo>
                    <a:pt x="1095826" y="14846"/>
                    <a:pt x="1119668" y="13496"/>
                    <a:pt x="1119668" y="13496"/>
                  </a:cubicBezTo>
                  <a:close/>
                  <a:moveTo>
                    <a:pt x="1458417" y="9897"/>
                  </a:moveTo>
                  <a:cubicBezTo>
                    <a:pt x="1466064" y="9897"/>
                    <a:pt x="1474612" y="13496"/>
                    <a:pt x="1474612" y="13496"/>
                  </a:cubicBezTo>
                  <a:cubicBezTo>
                    <a:pt x="1474612" y="13496"/>
                    <a:pt x="1477761" y="12147"/>
                    <a:pt x="1480010" y="11247"/>
                  </a:cubicBezTo>
                  <a:cubicBezTo>
                    <a:pt x="1482260" y="10347"/>
                    <a:pt x="1498006" y="12147"/>
                    <a:pt x="1499356" y="13496"/>
                  </a:cubicBezTo>
                  <a:cubicBezTo>
                    <a:pt x="1500705" y="14846"/>
                    <a:pt x="1499356" y="26992"/>
                    <a:pt x="1499356" y="33290"/>
                  </a:cubicBezTo>
                  <a:cubicBezTo>
                    <a:pt x="1501155" y="34190"/>
                    <a:pt x="1502505" y="39138"/>
                    <a:pt x="1501605" y="43637"/>
                  </a:cubicBezTo>
                  <a:cubicBezTo>
                    <a:pt x="1500705" y="46786"/>
                    <a:pt x="1499356" y="50385"/>
                    <a:pt x="1499805" y="53534"/>
                  </a:cubicBezTo>
                  <a:cubicBezTo>
                    <a:pt x="1505204" y="51285"/>
                    <a:pt x="1505654" y="51735"/>
                    <a:pt x="1505654" y="51735"/>
                  </a:cubicBezTo>
                  <a:cubicBezTo>
                    <a:pt x="1516900" y="54884"/>
                    <a:pt x="1510602" y="59832"/>
                    <a:pt x="1509253" y="64780"/>
                  </a:cubicBezTo>
                  <a:cubicBezTo>
                    <a:pt x="1508803" y="66580"/>
                    <a:pt x="1507453" y="68380"/>
                    <a:pt x="1506553" y="69279"/>
                  </a:cubicBezTo>
                  <a:cubicBezTo>
                    <a:pt x="1506553" y="70179"/>
                    <a:pt x="1506103" y="71079"/>
                    <a:pt x="1506103" y="71978"/>
                  </a:cubicBezTo>
                  <a:cubicBezTo>
                    <a:pt x="1510152" y="72428"/>
                    <a:pt x="1518700" y="65680"/>
                    <a:pt x="1523198" y="84575"/>
                  </a:cubicBezTo>
                  <a:cubicBezTo>
                    <a:pt x="1527247" y="103469"/>
                    <a:pt x="1521399" y="131811"/>
                    <a:pt x="1519150" y="148906"/>
                  </a:cubicBezTo>
                  <a:cubicBezTo>
                    <a:pt x="1516900" y="166001"/>
                    <a:pt x="1512402" y="206939"/>
                    <a:pt x="1512402" y="245177"/>
                  </a:cubicBezTo>
                  <a:cubicBezTo>
                    <a:pt x="1515551" y="302760"/>
                    <a:pt x="1519599" y="367091"/>
                    <a:pt x="1522298" y="404879"/>
                  </a:cubicBezTo>
                  <a:cubicBezTo>
                    <a:pt x="1523648" y="411177"/>
                    <a:pt x="1524998" y="417925"/>
                    <a:pt x="1526797" y="425123"/>
                  </a:cubicBezTo>
                  <a:cubicBezTo>
                    <a:pt x="1526797" y="425573"/>
                    <a:pt x="1526797" y="426473"/>
                    <a:pt x="1526797" y="427822"/>
                  </a:cubicBezTo>
                  <a:lnTo>
                    <a:pt x="1402184" y="427822"/>
                  </a:lnTo>
                  <a:cubicBezTo>
                    <a:pt x="1402184" y="425573"/>
                    <a:pt x="1402184" y="423774"/>
                    <a:pt x="1402184" y="422874"/>
                  </a:cubicBezTo>
                  <a:cubicBezTo>
                    <a:pt x="1401284" y="416126"/>
                    <a:pt x="1402184" y="364841"/>
                    <a:pt x="1402184" y="351795"/>
                  </a:cubicBezTo>
                  <a:cubicBezTo>
                    <a:pt x="1402184" y="339649"/>
                    <a:pt x="1397685" y="219985"/>
                    <a:pt x="1397235" y="194792"/>
                  </a:cubicBezTo>
                  <a:cubicBezTo>
                    <a:pt x="1396785" y="173649"/>
                    <a:pt x="1392287" y="146207"/>
                    <a:pt x="1392737" y="138110"/>
                  </a:cubicBezTo>
                  <a:cubicBezTo>
                    <a:pt x="1393187" y="129562"/>
                    <a:pt x="1400384" y="125063"/>
                    <a:pt x="1401284" y="118765"/>
                  </a:cubicBezTo>
                  <a:cubicBezTo>
                    <a:pt x="1402184" y="112466"/>
                    <a:pt x="1403983" y="96271"/>
                    <a:pt x="1402634" y="86824"/>
                  </a:cubicBezTo>
                  <a:cubicBezTo>
                    <a:pt x="1401284" y="77377"/>
                    <a:pt x="1406683" y="64780"/>
                    <a:pt x="1406232" y="62081"/>
                  </a:cubicBezTo>
                  <a:cubicBezTo>
                    <a:pt x="1405783" y="59382"/>
                    <a:pt x="1396335" y="48585"/>
                    <a:pt x="1387788" y="41838"/>
                  </a:cubicBezTo>
                  <a:cubicBezTo>
                    <a:pt x="1379691" y="35090"/>
                    <a:pt x="1382390" y="22043"/>
                    <a:pt x="1382390" y="22043"/>
                  </a:cubicBezTo>
                  <a:cubicBezTo>
                    <a:pt x="1380140" y="21594"/>
                    <a:pt x="1377891" y="15295"/>
                    <a:pt x="1384189" y="13496"/>
                  </a:cubicBezTo>
                  <a:cubicBezTo>
                    <a:pt x="1390937" y="11697"/>
                    <a:pt x="1450769" y="9447"/>
                    <a:pt x="1458417" y="9897"/>
                  </a:cubicBezTo>
                  <a:close/>
                  <a:moveTo>
                    <a:pt x="2242532" y="8098"/>
                  </a:moveTo>
                  <a:cubicBezTo>
                    <a:pt x="2256028" y="8998"/>
                    <a:pt x="2269974" y="6748"/>
                    <a:pt x="2272223" y="10797"/>
                  </a:cubicBezTo>
                  <a:cubicBezTo>
                    <a:pt x="2274473" y="14396"/>
                    <a:pt x="2277622" y="11697"/>
                    <a:pt x="2277622" y="11697"/>
                  </a:cubicBezTo>
                  <a:cubicBezTo>
                    <a:pt x="2283020" y="13946"/>
                    <a:pt x="2287969" y="16645"/>
                    <a:pt x="2287969" y="16645"/>
                  </a:cubicBezTo>
                  <a:cubicBezTo>
                    <a:pt x="2287518" y="30141"/>
                    <a:pt x="2286169" y="35540"/>
                    <a:pt x="2285719" y="41388"/>
                  </a:cubicBezTo>
                  <a:cubicBezTo>
                    <a:pt x="2285719" y="42738"/>
                    <a:pt x="2286169" y="43637"/>
                    <a:pt x="2286169" y="44537"/>
                  </a:cubicBezTo>
                  <a:cubicBezTo>
                    <a:pt x="2289768" y="48586"/>
                    <a:pt x="2293367" y="54434"/>
                    <a:pt x="2296966" y="63431"/>
                  </a:cubicBezTo>
                  <a:cubicBezTo>
                    <a:pt x="2301914" y="76027"/>
                    <a:pt x="2290218" y="84125"/>
                    <a:pt x="2286169" y="93122"/>
                  </a:cubicBezTo>
                  <a:cubicBezTo>
                    <a:pt x="2282570" y="102120"/>
                    <a:pt x="2282570" y="104369"/>
                    <a:pt x="2281670" y="117416"/>
                  </a:cubicBezTo>
                  <a:cubicBezTo>
                    <a:pt x="2281221" y="130012"/>
                    <a:pt x="2277622" y="137660"/>
                    <a:pt x="2277172" y="149806"/>
                  </a:cubicBezTo>
                  <a:cubicBezTo>
                    <a:pt x="2276722" y="161503"/>
                    <a:pt x="2272673" y="166901"/>
                    <a:pt x="2272223" y="181297"/>
                  </a:cubicBezTo>
                  <a:cubicBezTo>
                    <a:pt x="2271773" y="196142"/>
                    <a:pt x="2270424" y="203340"/>
                    <a:pt x="2272673" y="227633"/>
                  </a:cubicBezTo>
                  <a:cubicBezTo>
                    <a:pt x="2274473" y="251926"/>
                    <a:pt x="2272673" y="256424"/>
                    <a:pt x="2269974" y="278917"/>
                  </a:cubicBezTo>
                  <a:cubicBezTo>
                    <a:pt x="2268624" y="291064"/>
                    <a:pt x="2264126" y="310858"/>
                    <a:pt x="2258728" y="331102"/>
                  </a:cubicBezTo>
                  <a:cubicBezTo>
                    <a:pt x="2253779" y="351796"/>
                    <a:pt x="2247931" y="371140"/>
                    <a:pt x="2244332" y="384636"/>
                  </a:cubicBezTo>
                  <a:cubicBezTo>
                    <a:pt x="2240283" y="398581"/>
                    <a:pt x="2233535" y="413877"/>
                    <a:pt x="2226337" y="427822"/>
                  </a:cubicBezTo>
                  <a:lnTo>
                    <a:pt x="2073382" y="427822"/>
                  </a:lnTo>
                  <a:cubicBezTo>
                    <a:pt x="2076081" y="417026"/>
                    <a:pt x="2078781" y="406679"/>
                    <a:pt x="2080580" y="398581"/>
                  </a:cubicBezTo>
                  <a:cubicBezTo>
                    <a:pt x="2087328" y="370240"/>
                    <a:pt x="2099025" y="335600"/>
                    <a:pt x="2105773" y="318056"/>
                  </a:cubicBezTo>
                  <a:cubicBezTo>
                    <a:pt x="2112521" y="300961"/>
                    <a:pt x="2134563" y="242478"/>
                    <a:pt x="2139062" y="217286"/>
                  </a:cubicBezTo>
                  <a:cubicBezTo>
                    <a:pt x="2143561" y="192094"/>
                    <a:pt x="2147610" y="158804"/>
                    <a:pt x="2149409" y="149356"/>
                  </a:cubicBezTo>
                  <a:cubicBezTo>
                    <a:pt x="2151659" y="139459"/>
                    <a:pt x="2160656" y="98521"/>
                    <a:pt x="2164705" y="82775"/>
                  </a:cubicBezTo>
                  <a:cubicBezTo>
                    <a:pt x="2168754" y="67030"/>
                    <a:pt x="2179100" y="60732"/>
                    <a:pt x="2180000" y="57583"/>
                  </a:cubicBezTo>
                  <a:cubicBezTo>
                    <a:pt x="2180900" y="54434"/>
                    <a:pt x="2175051" y="49035"/>
                    <a:pt x="2167404" y="42738"/>
                  </a:cubicBezTo>
                  <a:cubicBezTo>
                    <a:pt x="2159756" y="36439"/>
                    <a:pt x="2161555" y="33290"/>
                    <a:pt x="2160206" y="26542"/>
                  </a:cubicBezTo>
                  <a:cubicBezTo>
                    <a:pt x="2159306" y="23843"/>
                    <a:pt x="2150759" y="22494"/>
                    <a:pt x="2157507" y="15296"/>
                  </a:cubicBezTo>
                  <a:cubicBezTo>
                    <a:pt x="2164255" y="8098"/>
                    <a:pt x="2229486" y="7198"/>
                    <a:pt x="2242532" y="8098"/>
                  </a:cubicBezTo>
                  <a:close/>
                  <a:moveTo>
                    <a:pt x="1679309" y="7704"/>
                  </a:moveTo>
                  <a:cubicBezTo>
                    <a:pt x="1716866" y="7957"/>
                    <a:pt x="1730699" y="14283"/>
                    <a:pt x="1732386" y="15295"/>
                  </a:cubicBezTo>
                  <a:cubicBezTo>
                    <a:pt x="1735085" y="16645"/>
                    <a:pt x="1735085" y="20693"/>
                    <a:pt x="1731936" y="22043"/>
                  </a:cubicBezTo>
                  <a:cubicBezTo>
                    <a:pt x="1731486" y="26092"/>
                    <a:pt x="1731486" y="34189"/>
                    <a:pt x="1728787" y="36439"/>
                  </a:cubicBezTo>
                  <a:cubicBezTo>
                    <a:pt x="1725638" y="38238"/>
                    <a:pt x="1713042" y="41387"/>
                    <a:pt x="1707643" y="43637"/>
                  </a:cubicBezTo>
                  <a:cubicBezTo>
                    <a:pt x="1702695" y="45886"/>
                    <a:pt x="1685150" y="57582"/>
                    <a:pt x="1682451" y="62081"/>
                  </a:cubicBezTo>
                  <a:cubicBezTo>
                    <a:pt x="1682001" y="68829"/>
                    <a:pt x="1685600" y="74677"/>
                    <a:pt x="1689199" y="86374"/>
                  </a:cubicBezTo>
                  <a:cubicBezTo>
                    <a:pt x="1692798" y="98070"/>
                    <a:pt x="1687849" y="104818"/>
                    <a:pt x="1684700" y="112017"/>
                  </a:cubicBezTo>
                  <a:cubicBezTo>
                    <a:pt x="1682001" y="119215"/>
                    <a:pt x="1677952" y="139459"/>
                    <a:pt x="1678852" y="154304"/>
                  </a:cubicBezTo>
                  <a:cubicBezTo>
                    <a:pt x="1679751" y="169150"/>
                    <a:pt x="1680651" y="188494"/>
                    <a:pt x="1680651" y="217735"/>
                  </a:cubicBezTo>
                  <a:cubicBezTo>
                    <a:pt x="1680651" y="224033"/>
                    <a:pt x="1680651" y="230781"/>
                    <a:pt x="1680651" y="237529"/>
                  </a:cubicBezTo>
                  <a:cubicBezTo>
                    <a:pt x="1681101" y="252825"/>
                    <a:pt x="1681101" y="266770"/>
                    <a:pt x="1681101" y="274868"/>
                  </a:cubicBezTo>
                  <a:cubicBezTo>
                    <a:pt x="1681101" y="280716"/>
                    <a:pt x="1682001" y="293313"/>
                    <a:pt x="1683351" y="309058"/>
                  </a:cubicBezTo>
                  <a:cubicBezTo>
                    <a:pt x="1686050" y="331551"/>
                    <a:pt x="1692348" y="382386"/>
                    <a:pt x="1697296" y="426472"/>
                  </a:cubicBezTo>
                  <a:lnTo>
                    <a:pt x="1575832" y="426472"/>
                  </a:lnTo>
                  <a:cubicBezTo>
                    <a:pt x="1575832" y="423323"/>
                    <a:pt x="1576282" y="421074"/>
                    <a:pt x="1576282" y="420624"/>
                  </a:cubicBezTo>
                  <a:cubicBezTo>
                    <a:pt x="1577631" y="415226"/>
                    <a:pt x="1576732" y="396331"/>
                    <a:pt x="1576282" y="386884"/>
                  </a:cubicBezTo>
                  <a:cubicBezTo>
                    <a:pt x="1576282" y="377437"/>
                    <a:pt x="1583030" y="351795"/>
                    <a:pt x="1584379" y="346846"/>
                  </a:cubicBezTo>
                  <a:cubicBezTo>
                    <a:pt x="1585729" y="341898"/>
                    <a:pt x="1580330" y="293762"/>
                    <a:pt x="1579431" y="266770"/>
                  </a:cubicBezTo>
                  <a:cubicBezTo>
                    <a:pt x="1578531" y="240228"/>
                    <a:pt x="1577181" y="151155"/>
                    <a:pt x="1574032" y="133611"/>
                  </a:cubicBezTo>
                  <a:cubicBezTo>
                    <a:pt x="1569534" y="105718"/>
                    <a:pt x="1578531" y="84125"/>
                    <a:pt x="1576732" y="61631"/>
                  </a:cubicBezTo>
                  <a:cubicBezTo>
                    <a:pt x="1576282" y="58482"/>
                    <a:pt x="1572233" y="42287"/>
                    <a:pt x="1572233" y="30591"/>
                  </a:cubicBezTo>
                  <a:cubicBezTo>
                    <a:pt x="1572233" y="26542"/>
                    <a:pt x="1575832" y="25642"/>
                    <a:pt x="1575832" y="23843"/>
                  </a:cubicBezTo>
                  <a:cubicBezTo>
                    <a:pt x="1575832" y="17095"/>
                    <a:pt x="1574932" y="11696"/>
                    <a:pt x="1576282" y="11696"/>
                  </a:cubicBezTo>
                  <a:cubicBezTo>
                    <a:pt x="1577631" y="11696"/>
                    <a:pt x="1604623" y="11696"/>
                    <a:pt x="1606873" y="11696"/>
                  </a:cubicBezTo>
                  <a:cubicBezTo>
                    <a:pt x="1608672" y="12146"/>
                    <a:pt x="1621269" y="14845"/>
                    <a:pt x="1621269" y="14845"/>
                  </a:cubicBezTo>
                  <a:cubicBezTo>
                    <a:pt x="1621269" y="14845"/>
                    <a:pt x="1624418" y="13046"/>
                    <a:pt x="1633415" y="9897"/>
                  </a:cubicBezTo>
                  <a:cubicBezTo>
                    <a:pt x="1651635" y="8210"/>
                    <a:pt x="1666790" y="7619"/>
                    <a:pt x="1679309" y="7704"/>
                  </a:cubicBezTo>
                  <a:close/>
                  <a:moveTo>
                    <a:pt x="22899" y="7648"/>
                  </a:moveTo>
                  <a:cubicBezTo>
                    <a:pt x="22899" y="7648"/>
                    <a:pt x="24699" y="16646"/>
                    <a:pt x="29647" y="15746"/>
                  </a:cubicBezTo>
                  <a:cubicBezTo>
                    <a:pt x="35046" y="15296"/>
                    <a:pt x="44943" y="10797"/>
                    <a:pt x="53040" y="8548"/>
                  </a:cubicBezTo>
                  <a:cubicBezTo>
                    <a:pt x="61138" y="6299"/>
                    <a:pt x="109723" y="8548"/>
                    <a:pt x="109723" y="8548"/>
                  </a:cubicBezTo>
                  <a:cubicBezTo>
                    <a:pt x="109723" y="8548"/>
                    <a:pt x="125468" y="18445"/>
                    <a:pt x="126368" y="22944"/>
                  </a:cubicBezTo>
                  <a:cubicBezTo>
                    <a:pt x="127268" y="27442"/>
                    <a:pt x="116921" y="34190"/>
                    <a:pt x="111073" y="39139"/>
                  </a:cubicBezTo>
                  <a:cubicBezTo>
                    <a:pt x="108824" y="40938"/>
                    <a:pt x="105674" y="43188"/>
                    <a:pt x="102076" y="45887"/>
                  </a:cubicBezTo>
                  <a:cubicBezTo>
                    <a:pt x="96677" y="49935"/>
                    <a:pt x="91279" y="55334"/>
                    <a:pt x="88580" y="63881"/>
                  </a:cubicBezTo>
                  <a:cubicBezTo>
                    <a:pt x="84081" y="77827"/>
                    <a:pt x="74634" y="116066"/>
                    <a:pt x="75534" y="157003"/>
                  </a:cubicBezTo>
                  <a:cubicBezTo>
                    <a:pt x="76433" y="197941"/>
                    <a:pt x="103425" y="271269"/>
                    <a:pt x="108374" y="294662"/>
                  </a:cubicBezTo>
                  <a:cubicBezTo>
                    <a:pt x="113322" y="318055"/>
                    <a:pt x="117821" y="351345"/>
                    <a:pt x="121420" y="358093"/>
                  </a:cubicBezTo>
                  <a:cubicBezTo>
                    <a:pt x="125019" y="364841"/>
                    <a:pt x="134016" y="386884"/>
                    <a:pt x="136715" y="389583"/>
                  </a:cubicBezTo>
                  <a:cubicBezTo>
                    <a:pt x="139414" y="392283"/>
                    <a:pt x="141664" y="385085"/>
                    <a:pt x="139414" y="376987"/>
                  </a:cubicBezTo>
                  <a:cubicBezTo>
                    <a:pt x="137165" y="368890"/>
                    <a:pt x="127718" y="309957"/>
                    <a:pt x="128617" y="281616"/>
                  </a:cubicBezTo>
                  <a:cubicBezTo>
                    <a:pt x="129517" y="253274"/>
                    <a:pt x="128168" y="179496"/>
                    <a:pt x="127268" y="157003"/>
                  </a:cubicBezTo>
                  <a:cubicBezTo>
                    <a:pt x="126818" y="134510"/>
                    <a:pt x="124569" y="117415"/>
                    <a:pt x="118720" y="108868"/>
                  </a:cubicBezTo>
                  <a:cubicBezTo>
                    <a:pt x="117371" y="106619"/>
                    <a:pt x="115122" y="103469"/>
                    <a:pt x="113322" y="99421"/>
                  </a:cubicBezTo>
                  <a:cubicBezTo>
                    <a:pt x="107924" y="89524"/>
                    <a:pt x="102975" y="75578"/>
                    <a:pt x="107924" y="64781"/>
                  </a:cubicBezTo>
                  <a:cubicBezTo>
                    <a:pt x="114222" y="49935"/>
                    <a:pt x="127718" y="34640"/>
                    <a:pt x="130417" y="14396"/>
                  </a:cubicBezTo>
                  <a:lnTo>
                    <a:pt x="142113" y="13047"/>
                  </a:lnTo>
                  <a:cubicBezTo>
                    <a:pt x="142113" y="13047"/>
                    <a:pt x="142113" y="20694"/>
                    <a:pt x="144363" y="19795"/>
                  </a:cubicBezTo>
                  <a:cubicBezTo>
                    <a:pt x="146612" y="19345"/>
                    <a:pt x="146612" y="13497"/>
                    <a:pt x="156959" y="12597"/>
                  </a:cubicBezTo>
                  <a:cubicBezTo>
                    <a:pt x="166857" y="11697"/>
                    <a:pt x="206895" y="13497"/>
                    <a:pt x="209144" y="12597"/>
                  </a:cubicBezTo>
                  <a:cubicBezTo>
                    <a:pt x="211394" y="12147"/>
                    <a:pt x="216342" y="15746"/>
                    <a:pt x="217242" y="20694"/>
                  </a:cubicBezTo>
                  <a:cubicBezTo>
                    <a:pt x="217692" y="25643"/>
                    <a:pt x="199247" y="38239"/>
                    <a:pt x="192499" y="48136"/>
                  </a:cubicBezTo>
                  <a:cubicBezTo>
                    <a:pt x="191599" y="49036"/>
                    <a:pt x="191150" y="49935"/>
                    <a:pt x="190700" y="50835"/>
                  </a:cubicBezTo>
                  <a:cubicBezTo>
                    <a:pt x="185751" y="61182"/>
                    <a:pt x="171806" y="79177"/>
                    <a:pt x="172705" y="104819"/>
                  </a:cubicBezTo>
                  <a:cubicBezTo>
                    <a:pt x="173155" y="130461"/>
                    <a:pt x="174505" y="154304"/>
                    <a:pt x="190700" y="231681"/>
                  </a:cubicBezTo>
                  <a:cubicBezTo>
                    <a:pt x="206445" y="308608"/>
                    <a:pt x="213643" y="324803"/>
                    <a:pt x="210944" y="387334"/>
                  </a:cubicBezTo>
                  <a:cubicBezTo>
                    <a:pt x="210944" y="387334"/>
                    <a:pt x="214093" y="403079"/>
                    <a:pt x="216792" y="415675"/>
                  </a:cubicBezTo>
                  <a:cubicBezTo>
                    <a:pt x="217692" y="419724"/>
                    <a:pt x="217692" y="423773"/>
                    <a:pt x="217692" y="426022"/>
                  </a:cubicBezTo>
                  <a:lnTo>
                    <a:pt x="68336" y="426022"/>
                  </a:lnTo>
                  <a:cubicBezTo>
                    <a:pt x="60688" y="408927"/>
                    <a:pt x="47642" y="384185"/>
                    <a:pt x="38195" y="354044"/>
                  </a:cubicBezTo>
                  <a:cubicBezTo>
                    <a:pt x="23799" y="306808"/>
                    <a:pt x="26948" y="242477"/>
                    <a:pt x="29647" y="209188"/>
                  </a:cubicBezTo>
                  <a:cubicBezTo>
                    <a:pt x="32347" y="175448"/>
                    <a:pt x="35945" y="162402"/>
                    <a:pt x="30997" y="148006"/>
                  </a:cubicBezTo>
                  <a:cubicBezTo>
                    <a:pt x="26048" y="133610"/>
                    <a:pt x="22000" y="111117"/>
                    <a:pt x="19300" y="106619"/>
                  </a:cubicBezTo>
                  <a:cubicBezTo>
                    <a:pt x="18401" y="105719"/>
                    <a:pt x="17051" y="103469"/>
                    <a:pt x="14802" y="100770"/>
                  </a:cubicBezTo>
                  <a:cubicBezTo>
                    <a:pt x="8054" y="91323"/>
                    <a:pt x="-3193" y="74678"/>
                    <a:pt x="856" y="62982"/>
                  </a:cubicBezTo>
                  <a:cubicBezTo>
                    <a:pt x="6254" y="47686"/>
                    <a:pt x="17051" y="31941"/>
                    <a:pt x="14802" y="9898"/>
                  </a:cubicBezTo>
                  <a:close/>
                  <a:moveTo>
                    <a:pt x="1939147" y="7127"/>
                  </a:moveTo>
                  <a:cubicBezTo>
                    <a:pt x="1950457" y="7254"/>
                    <a:pt x="1959567" y="7648"/>
                    <a:pt x="1964066" y="8098"/>
                  </a:cubicBezTo>
                  <a:cubicBezTo>
                    <a:pt x="1982060" y="9897"/>
                    <a:pt x="2017600" y="13046"/>
                    <a:pt x="2017600" y="13046"/>
                  </a:cubicBezTo>
                  <a:lnTo>
                    <a:pt x="2018500" y="7198"/>
                  </a:lnTo>
                  <a:lnTo>
                    <a:pt x="2066635" y="12596"/>
                  </a:lnTo>
                  <a:cubicBezTo>
                    <a:pt x="2066635" y="17095"/>
                    <a:pt x="2066635" y="21144"/>
                    <a:pt x="2066635" y="25192"/>
                  </a:cubicBezTo>
                  <a:cubicBezTo>
                    <a:pt x="2070684" y="43187"/>
                    <a:pt x="2062136" y="73328"/>
                    <a:pt x="2059437" y="82775"/>
                  </a:cubicBezTo>
                  <a:cubicBezTo>
                    <a:pt x="2058087" y="87274"/>
                    <a:pt x="2057188" y="94472"/>
                    <a:pt x="2056738" y="103469"/>
                  </a:cubicBezTo>
                  <a:cubicBezTo>
                    <a:pt x="2056738" y="114265"/>
                    <a:pt x="2056738" y="128211"/>
                    <a:pt x="2055388" y="144856"/>
                  </a:cubicBezTo>
                  <a:cubicBezTo>
                    <a:pt x="2054939" y="145756"/>
                    <a:pt x="2054939" y="146656"/>
                    <a:pt x="2054939" y="148005"/>
                  </a:cubicBezTo>
                  <a:cubicBezTo>
                    <a:pt x="2054939" y="150705"/>
                    <a:pt x="2054939" y="153404"/>
                    <a:pt x="2054939" y="156103"/>
                  </a:cubicBezTo>
                  <a:cubicBezTo>
                    <a:pt x="2054939" y="179496"/>
                    <a:pt x="2051790" y="244276"/>
                    <a:pt x="2049990" y="281615"/>
                  </a:cubicBezTo>
                  <a:cubicBezTo>
                    <a:pt x="2049990" y="282515"/>
                    <a:pt x="2049990" y="282965"/>
                    <a:pt x="2049990" y="283415"/>
                  </a:cubicBezTo>
                  <a:cubicBezTo>
                    <a:pt x="2049990" y="290612"/>
                    <a:pt x="2049540" y="296911"/>
                    <a:pt x="2049090" y="302759"/>
                  </a:cubicBezTo>
                  <a:cubicBezTo>
                    <a:pt x="2048640" y="311306"/>
                    <a:pt x="2047741" y="319404"/>
                    <a:pt x="2046391" y="326152"/>
                  </a:cubicBezTo>
                  <a:cubicBezTo>
                    <a:pt x="2045941" y="329751"/>
                    <a:pt x="2045491" y="333350"/>
                    <a:pt x="2045491" y="336948"/>
                  </a:cubicBezTo>
                  <a:cubicBezTo>
                    <a:pt x="2045491" y="344146"/>
                    <a:pt x="2043242" y="348195"/>
                    <a:pt x="2041443" y="352694"/>
                  </a:cubicBezTo>
                  <a:cubicBezTo>
                    <a:pt x="2041443" y="354943"/>
                    <a:pt x="2040993" y="357192"/>
                    <a:pt x="2040993" y="358992"/>
                  </a:cubicBezTo>
                  <a:cubicBezTo>
                    <a:pt x="2040543" y="366640"/>
                    <a:pt x="2039193" y="374287"/>
                    <a:pt x="2039643" y="382835"/>
                  </a:cubicBezTo>
                  <a:cubicBezTo>
                    <a:pt x="2040543" y="387783"/>
                    <a:pt x="2041892" y="392282"/>
                    <a:pt x="2042792" y="397680"/>
                  </a:cubicBezTo>
                  <a:cubicBezTo>
                    <a:pt x="2045491" y="404878"/>
                    <a:pt x="2046841" y="415675"/>
                    <a:pt x="2047291" y="427821"/>
                  </a:cubicBezTo>
                  <a:lnTo>
                    <a:pt x="1901534" y="427821"/>
                  </a:lnTo>
                  <a:cubicBezTo>
                    <a:pt x="1904233" y="381035"/>
                    <a:pt x="1909181" y="314455"/>
                    <a:pt x="1912330" y="285214"/>
                  </a:cubicBezTo>
                  <a:cubicBezTo>
                    <a:pt x="1916379" y="249675"/>
                    <a:pt x="1934824" y="143057"/>
                    <a:pt x="1939322" y="137658"/>
                  </a:cubicBezTo>
                  <a:cubicBezTo>
                    <a:pt x="1943821" y="132260"/>
                    <a:pt x="1942022" y="123713"/>
                    <a:pt x="1940222" y="114715"/>
                  </a:cubicBezTo>
                  <a:cubicBezTo>
                    <a:pt x="1938423" y="105718"/>
                    <a:pt x="1942022" y="98070"/>
                    <a:pt x="1944721" y="93572"/>
                  </a:cubicBezTo>
                  <a:cubicBezTo>
                    <a:pt x="1947420" y="89523"/>
                    <a:pt x="1938423" y="76927"/>
                    <a:pt x="1935723" y="71978"/>
                  </a:cubicBezTo>
                  <a:cubicBezTo>
                    <a:pt x="1933024" y="67030"/>
                    <a:pt x="1930325" y="62531"/>
                    <a:pt x="1926726" y="58932"/>
                  </a:cubicBezTo>
                  <a:cubicBezTo>
                    <a:pt x="1923127" y="55333"/>
                    <a:pt x="1905133" y="46786"/>
                    <a:pt x="1897485" y="44986"/>
                  </a:cubicBezTo>
                  <a:cubicBezTo>
                    <a:pt x="1890287" y="42737"/>
                    <a:pt x="1870043" y="41837"/>
                    <a:pt x="1860596" y="41388"/>
                  </a:cubicBezTo>
                  <a:cubicBezTo>
                    <a:pt x="1850699" y="40938"/>
                    <a:pt x="1848000" y="24293"/>
                    <a:pt x="1848000" y="24293"/>
                  </a:cubicBezTo>
                  <a:cubicBezTo>
                    <a:pt x="1837203" y="22943"/>
                    <a:pt x="1843051" y="18894"/>
                    <a:pt x="1843051" y="18894"/>
                  </a:cubicBezTo>
                  <a:cubicBezTo>
                    <a:pt x="1851486" y="8772"/>
                    <a:pt x="1905217" y="6748"/>
                    <a:pt x="1939147" y="7127"/>
                  </a:cubicBezTo>
                  <a:close/>
                  <a:moveTo>
                    <a:pt x="383690" y="3599"/>
                  </a:moveTo>
                  <a:cubicBezTo>
                    <a:pt x="390438" y="3599"/>
                    <a:pt x="506953" y="3599"/>
                    <a:pt x="506953" y="3599"/>
                  </a:cubicBezTo>
                  <a:lnTo>
                    <a:pt x="515950" y="4949"/>
                  </a:lnTo>
                  <a:lnTo>
                    <a:pt x="515051" y="27892"/>
                  </a:lnTo>
                  <a:cubicBezTo>
                    <a:pt x="515051" y="27892"/>
                    <a:pt x="511902" y="30141"/>
                    <a:pt x="512801" y="39588"/>
                  </a:cubicBezTo>
                  <a:cubicBezTo>
                    <a:pt x="513701" y="44087"/>
                    <a:pt x="516400" y="49485"/>
                    <a:pt x="519099" y="55783"/>
                  </a:cubicBezTo>
                  <a:cubicBezTo>
                    <a:pt x="521349" y="59832"/>
                    <a:pt x="523148" y="64780"/>
                    <a:pt x="523598" y="70629"/>
                  </a:cubicBezTo>
                  <a:cubicBezTo>
                    <a:pt x="524498" y="73328"/>
                    <a:pt x="524948" y="76477"/>
                    <a:pt x="524948" y="79626"/>
                  </a:cubicBezTo>
                  <a:cubicBezTo>
                    <a:pt x="524948" y="82325"/>
                    <a:pt x="524948" y="85024"/>
                    <a:pt x="524498" y="88623"/>
                  </a:cubicBezTo>
                  <a:cubicBezTo>
                    <a:pt x="524948" y="99420"/>
                    <a:pt x="524498" y="110217"/>
                    <a:pt x="522248" y="117415"/>
                  </a:cubicBezTo>
                  <a:cubicBezTo>
                    <a:pt x="520899" y="122363"/>
                    <a:pt x="518200" y="130011"/>
                    <a:pt x="515950" y="139908"/>
                  </a:cubicBezTo>
                  <a:cubicBezTo>
                    <a:pt x="514151" y="150255"/>
                    <a:pt x="512801" y="160152"/>
                    <a:pt x="512801" y="168249"/>
                  </a:cubicBezTo>
                  <a:cubicBezTo>
                    <a:pt x="512801" y="179046"/>
                    <a:pt x="516400" y="196141"/>
                    <a:pt x="520449" y="218184"/>
                  </a:cubicBezTo>
                  <a:cubicBezTo>
                    <a:pt x="525847" y="246076"/>
                    <a:pt x="531696" y="280715"/>
                    <a:pt x="531246" y="311306"/>
                  </a:cubicBezTo>
                  <a:cubicBezTo>
                    <a:pt x="530346" y="352244"/>
                    <a:pt x="531246" y="385534"/>
                    <a:pt x="533495" y="428271"/>
                  </a:cubicBezTo>
                  <a:lnTo>
                    <a:pt x="412032" y="428271"/>
                  </a:lnTo>
                  <a:cubicBezTo>
                    <a:pt x="412032" y="417924"/>
                    <a:pt x="412482" y="404878"/>
                    <a:pt x="414281" y="402629"/>
                  </a:cubicBezTo>
                  <a:cubicBezTo>
                    <a:pt x="416530" y="399480"/>
                    <a:pt x="417880" y="395431"/>
                    <a:pt x="415630" y="384184"/>
                  </a:cubicBezTo>
                  <a:cubicBezTo>
                    <a:pt x="413381" y="373388"/>
                    <a:pt x="414281" y="358992"/>
                    <a:pt x="413381" y="333350"/>
                  </a:cubicBezTo>
                  <a:cubicBezTo>
                    <a:pt x="412482" y="307258"/>
                    <a:pt x="411132" y="270369"/>
                    <a:pt x="413381" y="231230"/>
                  </a:cubicBezTo>
                  <a:cubicBezTo>
                    <a:pt x="415630" y="192092"/>
                    <a:pt x="420579" y="158802"/>
                    <a:pt x="423728" y="138109"/>
                  </a:cubicBezTo>
                  <a:cubicBezTo>
                    <a:pt x="423728" y="138109"/>
                    <a:pt x="429576" y="126862"/>
                    <a:pt x="430476" y="119664"/>
                  </a:cubicBezTo>
                  <a:cubicBezTo>
                    <a:pt x="431376" y="112466"/>
                    <a:pt x="417880" y="102569"/>
                    <a:pt x="412032" y="88623"/>
                  </a:cubicBezTo>
                  <a:cubicBezTo>
                    <a:pt x="406183" y="74228"/>
                    <a:pt x="408433" y="61182"/>
                    <a:pt x="409782" y="58932"/>
                  </a:cubicBezTo>
                  <a:cubicBezTo>
                    <a:pt x="411132" y="56683"/>
                    <a:pt x="403034" y="42737"/>
                    <a:pt x="394937" y="41837"/>
                  </a:cubicBezTo>
                  <a:cubicBezTo>
                    <a:pt x="386839" y="41388"/>
                    <a:pt x="367495" y="41388"/>
                    <a:pt x="361647" y="34640"/>
                  </a:cubicBezTo>
                  <a:cubicBezTo>
                    <a:pt x="355799" y="27892"/>
                    <a:pt x="355799" y="23393"/>
                    <a:pt x="355799" y="23393"/>
                  </a:cubicBezTo>
                  <a:cubicBezTo>
                    <a:pt x="355799" y="23393"/>
                    <a:pt x="345452" y="20694"/>
                    <a:pt x="351300" y="15295"/>
                  </a:cubicBezTo>
                  <a:cubicBezTo>
                    <a:pt x="357148" y="10347"/>
                    <a:pt x="376942" y="3599"/>
                    <a:pt x="383690" y="3599"/>
                  </a:cubicBezTo>
                  <a:close/>
                  <a:moveTo>
                    <a:pt x="762026" y="0"/>
                  </a:moveTo>
                  <a:cubicBezTo>
                    <a:pt x="778671" y="0"/>
                    <a:pt x="798465" y="0"/>
                    <a:pt x="783620" y="31940"/>
                  </a:cubicBezTo>
                  <a:cubicBezTo>
                    <a:pt x="783620" y="31940"/>
                    <a:pt x="775522" y="39588"/>
                    <a:pt x="771923" y="46786"/>
                  </a:cubicBezTo>
                  <a:cubicBezTo>
                    <a:pt x="767875" y="54433"/>
                    <a:pt x="762926" y="61631"/>
                    <a:pt x="762926" y="63881"/>
                  </a:cubicBezTo>
                  <a:cubicBezTo>
                    <a:pt x="762926" y="66130"/>
                    <a:pt x="764275" y="92222"/>
                    <a:pt x="762026" y="98070"/>
                  </a:cubicBezTo>
                  <a:cubicBezTo>
                    <a:pt x="759777" y="103919"/>
                    <a:pt x="748530" y="113367"/>
                    <a:pt x="744931" y="126863"/>
                  </a:cubicBezTo>
                  <a:cubicBezTo>
                    <a:pt x="741332" y="139909"/>
                    <a:pt x="756178" y="233931"/>
                    <a:pt x="753029" y="243378"/>
                  </a:cubicBezTo>
                  <a:cubicBezTo>
                    <a:pt x="749880" y="253275"/>
                    <a:pt x="730536" y="342348"/>
                    <a:pt x="729186" y="398581"/>
                  </a:cubicBezTo>
                  <a:cubicBezTo>
                    <a:pt x="729186" y="406678"/>
                    <a:pt x="728736" y="416126"/>
                    <a:pt x="729636" y="427372"/>
                  </a:cubicBezTo>
                  <a:lnTo>
                    <a:pt x="609972" y="427372"/>
                  </a:lnTo>
                  <a:cubicBezTo>
                    <a:pt x="614921" y="393182"/>
                    <a:pt x="621669" y="347746"/>
                    <a:pt x="624368" y="327952"/>
                  </a:cubicBezTo>
                  <a:cubicBezTo>
                    <a:pt x="627967" y="300061"/>
                    <a:pt x="631565" y="238429"/>
                    <a:pt x="631565" y="216386"/>
                  </a:cubicBezTo>
                  <a:cubicBezTo>
                    <a:pt x="631565" y="206039"/>
                    <a:pt x="633365" y="185345"/>
                    <a:pt x="635614" y="164202"/>
                  </a:cubicBezTo>
                  <a:cubicBezTo>
                    <a:pt x="637414" y="138559"/>
                    <a:pt x="639663" y="116516"/>
                    <a:pt x="643262" y="106168"/>
                  </a:cubicBezTo>
                  <a:cubicBezTo>
                    <a:pt x="646411" y="89973"/>
                    <a:pt x="653159" y="82325"/>
                    <a:pt x="654059" y="72428"/>
                  </a:cubicBezTo>
                  <a:cubicBezTo>
                    <a:pt x="654059" y="71528"/>
                    <a:pt x="654059" y="70629"/>
                    <a:pt x="654059" y="69729"/>
                  </a:cubicBezTo>
                  <a:cubicBezTo>
                    <a:pt x="654059" y="61181"/>
                    <a:pt x="654059" y="59382"/>
                    <a:pt x="656308" y="55783"/>
                  </a:cubicBezTo>
                  <a:cubicBezTo>
                    <a:pt x="657208" y="54433"/>
                    <a:pt x="658108" y="53084"/>
                    <a:pt x="659457" y="52184"/>
                  </a:cubicBezTo>
                  <a:cubicBezTo>
                    <a:pt x="664856" y="46336"/>
                    <a:pt x="672053" y="40938"/>
                    <a:pt x="673853" y="36889"/>
                  </a:cubicBezTo>
                  <a:cubicBezTo>
                    <a:pt x="673853" y="34190"/>
                    <a:pt x="673403" y="31491"/>
                    <a:pt x="672953" y="28341"/>
                  </a:cubicBezTo>
                  <a:cubicBezTo>
                    <a:pt x="671603" y="23393"/>
                    <a:pt x="670254" y="17995"/>
                    <a:pt x="671154" y="14845"/>
                  </a:cubicBezTo>
                  <a:cubicBezTo>
                    <a:pt x="670704" y="10347"/>
                    <a:pt x="672503" y="900"/>
                    <a:pt x="672503" y="900"/>
                  </a:cubicBezTo>
                  <a:cubicBezTo>
                    <a:pt x="672503" y="900"/>
                    <a:pt x="745831" y="0"/>
                    <a:pt x="762026" y="0"/>
                  </a:cubicBezTo>
                  <a:close/>
                </a:path>
              </a:pathLst>
            </a:custGeom>
            <a:gradFill>
              <a:gsLst>
                <a:gs pos="0">
                  <a:schemeClr val="tx2">
                    <a:lumMod val="75000"/>
                    <a:alpha val="50000"/>
                  </a:schemeClr>
                </a:gs>
                <a:gs pos="100000">
                  <a:schemeClr val="tx2">
                    <a:lumMod val="75000"/>
                    <a:alpha val="0"/>
                  </a:schemeClr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6C2AE4AB-309C-446E-B12E-4B6C9DA0DE99}"/>
                </a:ext>
              </a:extLst>
            </p:cNvPr>
            <p:cNvSpPr/>
            <p:nvPr/>
          </p:nvSpPr>
          <p:spPr>
            <a:xfrm>
              <a:off x="8906247" y="4205320"/>
              <a:ext cx="584655" cy="2033851"/>
            </a:xfrm>
            <a:custGeom>
              <a:avLst/>
              <a:gdLst>
                <a:gd name="connsiteX0" fmla="*/ 7260 w 422872"/>
                <a:gd name="connsiteY0" fmla="*/ 1464984 h 1471057"/>
                <a:gd name="connsiteX1" fmla="*/ 81487 w 422872"/>
                <a:gd name="connsiteY1" fmla="*/ 1468583 h 1471057"/>
                <a:gd name="connsiteX2" fmla="*/ 97682 w 422872"/>
                <a:gd name="connsiteY2" fmla="*/ 1464984 h 1471057"/>
                <a:gd name="connsiteX3" fmla="*/ 103081 w 422872"/>
                <a:gd name="connsiteY3" fmla="*/ 1467233 h 1471057"/>
                <a:gd name="connsiteX4" fmla="*/ 122425 w 422872"/>
                <a:gd name="connsiteY4" fmla="*/ 1464984 h 1471057"/>
                <a:gd name="connsiteX5" fmla="*/ 122425 w 422872"/>
                <a:gd name="connsiteY5" fmla="*/ 1445190 h 1471057"/>
                <a:gd name="connsiteX6" fmla="*/ 124674 w 422872"/>
                <a:gd name="connsiteY6" fmla="*/ 1434843 h 1471057"/>
                <a:gd name="connsiteX7" fmla="*/ 122875 w 422872"/>
                <a:gd name="connsiteY7" fmla="*/ 1424946 h 1471057"/>
                <a:gd name="connsiteX8" fmla="*/ 128723 w 422872"/>
                <a:gd name="connsiteY8" fmla="*/ 1426746 h 1471057"/>
                <a:gd name="connsiteX9" fmla="*/ 132322 w 422872"/>
                <a:gd name="connsiteY9" fmla="*/ 1413699 h 1471057"/>
                <a:gd name="connsiteX10" fmla="*/ 129623 w 422872"/>
                <a:gd name="connsiteY10" fmla="*/ 1409201 h 1471057"/>
                <a:gd name="connsiteX11" fmla="*/ 129173 w 422872"/>
                <a:gd name="connsiteY11" fmla="*/ 1406502 h 1471057"/>
                <a:gd name="connsiteX12" fmla="*/ 146268 w 422872"/>
                <a:gd name="connsiteY12" fmla="*/ 1393905 h 1471057"/>
                <a:gd name="connsiteX13" fmla="*/ 142219 w 422872"/>
                <a:gd name="connsiteY13" fmla="*/ 1329575 h 1471057"/>
                <a:gd name="connsiteX14" fmla="*/ 135471 w 422872"/>
                <a:gd name="connsiteY14" fmla="*/ 1233304 h 1471057"/>
                <a:gd name="connsiteX15" fmla="*/ 145368 w 422872"/>
                <a:gd name="connsiteY15" fmla="*/ 1073602 h 1471057"/>
                <a:gd name="connsiteX16" fmla="*/ 149867 w 422872"/>
                <a:gd name="connsiteY16" fmla="*/ 1053358 h 1471057"/>
                <a:gd name="connsiteX17" fmla="*/ 154365 w 422872"/>
                <a:gd name="connsiteY17" fmla="*/ 984528 h 1471057"/>
                <a:gd name="connsiteX18" fmla="*/ 167861 w 422872"/>
                <a:gd name="connsiteY18" fmla="*/ 882859 h 1471057"/>
                <a:gd name="connsiteX19" fmla="*/ 174159 w 422872"/>
                <a:gd name="connsiteY19" fmla="*/ 852718 h 1471057"/>
                <a:gd name="connsiteX20" fmla="*/ 182257 w 422872"/>
                <a:gd name="connsiteY20" fmla="*/ 822127 h 1471057"/>
                <a:gd name="connsiteX21" fmla="*/ 193503 w 422872"/>
                <a:gd name="connsiteY21" fmla="*/ 865314 h 1471057"/>
                <a:gd name="connsiteX22" fmla="*/ 199802 w 422872"/>
                <a:gd name="connsiteY22" fmla="*/ 923797 h 1471057"/>
                <a:gd name="connsiteX23" fmla="*/ 199802 w 422872"/>
                <a:gd name="connsiteY23" fmla="*/ 1056957 h 1471057"/>
                <a:gd name="connsiteX24" fmla="*/ 199802 w 422872"/>
                <a:gd name="connsiteY24" fmla="*/ 1090697 h 1471057"/>
                <a:gd name="connsiteX25" fmla="*/ 207899 w 422872"/>
                <a:gd name="connsiteY25" fmla="*/ 1130734 h 1471057"/>
                <a:gd name="connsiteX26" fmla="*/ 202951 w 422872"/>
                <a:gd name="connsiteY26" fmla="*/ 1210811 h 1471057"/>
                <a:gd name="connsiteX27" fmla="*/ 197552 w 422872"/>
                <a:gd name="connsiteY27" fmla="*/ 1343970 h 1471057"/>
                <a:gd name="connsiteX28" fmla="*/ 200251 w 422872"/>
                <a:gd name="connsiteY28" fmla="*/ 1415949 h 1471057"/>
                <a:gd name="connsiteX29" fmla="*/ 195753 w 422872"/>
                <a:gd name="connsiteY29" fmla="*/ 1446989 h 1471057"/>
                <a:gd name="connsiteX30" fmla="*/ 199352 w 422872"/>
                <a:gd name="connsiteY30" fmla="*/ 1453737 h 1471057"/>
                <a:gd name="connsiteX31" fmla="*/ 199802 w 422872"/>
                <a:gd name="connsiteY31" fmla="*/ 1465884 h 1471057"/>
                <a:gd name="connsiteX32" fmla="*/ 230392 w 422872"/>
                <a:gd name="connsiteY32" fmla="*/ 1465884 h 1471057"/>
                <a:gd name="connsiteX33" fmla="*/ 244788 w 422872"/>
                <a:gd name="connsiteY33" fmla="*/ 1462735 h 1471057"/>
                <a:gd name="connsiteX34" fmla="*/ 256935 w 422872"/>
                <a:gd name="connsiteY34" fmla="*/ 1467683 h 1471057"/>
                <a:gd name="connsiteX35" fmla="*/ 355905 w 422872"/>
                <a:gd name="connsiteY35" fmla="*/ 1462285 h 1471057"/>
                <a:gd name="connsiteX36" fmla="*/ 355455 w 422872"/>
                <a:gd name="connsiteY36" fmla="*/ 1455537 h 1471057"/>
                <a:gd name="connsiteX37" fmla="*/ 352306 w 422872"/>
                <a:gd name="connsiteY37" fmla="*/ 1441141 h 1471057"/>
                <a:gd name="connsiteX38" fmla="*/ 331162 w 422872"/>
                <a:gd name="connsiteY38" fmla="*/ 1433943 h 1471057"/>
                <a:gd name="connsiteX39" fmla="*/ 305970 w 422872"/>
                <a:gd name="connsiteY39" fmla="*/ 1415499 h 1471057"/>
                <a:gd name="connsiteX40" fmla="*/ 312718 w 422872"/>
                <a:gd name="connsiteY40" fmla="*/ 1391206 h 1471057"/>
                <a:gd name="connsiteX41" fmla="*/ 308219 w 422872"/>
                <a:gd name="connsiteY41" fmla="*/ 1365564 h 1471057"/>
                <a:gd name="connsiteX42" fmla="*/ 302371 w 422872"/>
                <a:gd name="connsiteY42" fmla="*/ 1323277 h 1471057"/>
                <a:gd name="connsiteX43" fmla="*/ 304170 w 422872"/>
                <a:gd name="connsiteY43" fmla="*/ 1259846 h 1471057"/>
                <a:gd name="connsiteX44" fmla="*/ 304170 w 422872"/>
                <a:gd name="connsiteY44" fmla="*/ 1240052 h 1471057"/>
                <a:gd name="connsiteX45" fmla="*/ 304620 w 422872"/>
                <a:gd name="connsiteY45" fmla="*/ 1202713 h 1471057"/>
                <a:gd name="connsiteX46" fmla="*/ 306869 w 422872"/>
                <a:gd name="connsiteY46" fmla="*/ 1168523 h 1471057"/>
                <a:gd name="connsiteX47" fmla="*/ 327113 w 422872"/>
                <a:gd name="connsiteY47" fmla="*/ 1007022 h 1471057"/>
                <a:gd name="connsiteX48" fmla="*/ 348707 w 422872"/>
                <a:gd name="connsiteY48" fmla="*/ 843271 h 1471057"/>
                <a:gd name="connsiteX49" fmla="*/ 345108 w 422872"/>
                <a:gd name="connsiteY49" fmla="*/ 755997 h 1471057"/>
                <a:gd name="connsiteX50" fmla="*/ 343758 w 422872"/>
                <a:gd name="connsiteY50" fmla="*/ 729005 h 1471057"/>
                <a:gd name="connsiteX51" fmla="*/ 327563 w 422872"/>
                <a:gd name="connsiteY51" fmla="*/ 645781 h 1471057"/>
                <a:gd name="connsiteX52" fmla="*/ 328013 w 422872"/>
                <a:gd name="connsiteY52" fmla="*/ 634084 h 1471057"/>
                <a:gd name="connsiteX53" fmla="*/ 334311 w 422872"/>
                <a:gd name="connsiteY53" fmla="*/ 629135 h 1471057"/>
                <a:gd name="connsiteX54" fmla="*/ 334311 w 422872"/>
                <a:gd name="connsiteY54" fmla="*/ 629135 h 1471057"/>
                <a:gd name="connsiteX55" fmla="*/ 334761 w 422872"/>
                <a:gd name="connsiteY55" fmla="*/ 627336 h 1471057"/>
                <a:gd name="connsiteX56" fmla="*/ 335211 w 422872"/>
                <a:gd name="connsiteY56" fmla="*/ 622838 h 1471057"/>
                <a:gd name="connsiteX57" fmla="*/ 334761 w 422872"/>
                <a:gd name="connsiteY57" fmla="*/ 571103 h 1471057"/>
                <a:gd name="connsiteX58" fmla="*/ 382897 w 422872"/>
                <a:gd name="connsiteY58" fmla="*/ 572902 h 1471057"/>
                <a:gd name="connsiteX59" fmla="*/ 417536 w 422872"/>
                <a:gd name="connsiteY59" fmla="*/ 556258 h 1471057"/>
                <a:gd name="connsiteX60" fmla="*/ 417536 w 422872"/>
                <a:gd name="connsiteY60" fmla="*/ 512621 h 1471057"/>
                <a:gd name="connsiteX61" fmla="*/ 410338 w 422872"/>
                <a:gd name="connsiteY61" fmla="*/ 396106 h 1471057"/>
                <a:gd name="connsiteX62" fmla="*/ 407639 w 422872"/>
                <a:gd name="connsiteY62" fmla="*/ 347970 h 1471057"/>
                <a:gd name="connsiteX63" fmla="*/ 397742 w 422872"/>
                <a:gd name="connsiteY63" fmla="*/ 327726 h 1471057"/>
                <a:gd name="connsiteX64" fmla="*/ 393243 w 422872"/>
                <a:gd name="connsiteY64" fmla="*/ 309282 h 1471057"/>
                <a:gd name="connsiteX65" fmla="*/ 376598 w 422872"/>
                <a:gd name="connsiteY65" fmla="*/ 289488 h 1471057"/>
                <a:gd name="connsiteX66" fmla="*/ 353655 w 422872"/>
                <a:gd name="connsiteY66" fmla="*/ 277342 h 1471057"/>
                <a:gd name="connsiteX67" fmla="*/ 326664 w 422872"/>
                <a:gd name="connsiteY67" fmla="*/ 265195 h 1471057"/>
                <a:gd name="connsiteX68" fmla="*/ 284826 w 422872"/>
                <a:gd name="connsiteY68" fmla="*/ 244052 h 1471057"/>
                <a:gd name="connsiteX69" fmla="*/ 279878 w 422872"/>
                <a:gd name="connsiteY69" fmla="*/ 237304 h 1471057"/>
                <a:gd name="connsiteX70" fmla="*/ 278528 w 422872"/>
                <a:gd name="connsiteY70" fmla="*/ 215260 h 1471057"/>
                <a:gd name="connsiteX71" fmla="*/ 276279 w 422872"/>
                <a:gd name="connsiteY71" fmla="*/ 207613 h 1471057"/>
                <a:gd name="connsiteX72" fmla="*/ 274029 w 422872"/>
                <a:gd name="connsiteY72" fmla="*/ 209862 h 1471057"/>
                <a:gd name="connsiteX73" fmla="*/ 278978 w 422872"/>
                <a:gd name="connsiteY73" fmla="*/ 201764 h 1471057"/>
                <a:gd name="connsiteX74" fmla="*/ 288425 w 422872"/>
                <a:gd name="connsiteY74" fmla="*/ 175222 h 1471057"/>
                <a:gd name="connsiteX75" fmla="*/ 294723 w 422872"/>
                <a:gd name="connsiteY75" fmla="*/ 136534 h 1471057"/>
                <a:gd name="connsiteX76" fmla="*/ 298322 w 422872"/>
                <a:gd name="connsiteY76" fmla="*/ 124388 h 1471057"/>
                <a:gd name="connsiteX77" fmla="*/ 298322 w 422872"/>
                <a:gd name="connsiteY77" fmla="*/ 111341 h 1471057"/>
                <a:gd name="connsiteX78" fmla="*/ 301021 w 422872"/>
                <a:gd name="connsiteY78" fmla="*/ 99645 h 1471057"/>
                <a:gd name="connsiteX79" fmla="*/ 296073 w 422872"/>
                <a:gd name="connsiteY79" fmla="*/ 87499 h 1471057"/>
                <a:gd name="connsiteX80" fmla="*/ 295623 w 422872"/>
                <a:gd name="connsiteY80" fmla="*/ 77602 h 1471057"/>
                <a:gd name="connsiteX81" fmla="*/ 290224 w 422872"/>
                <a:gd name="connsiteY81" fmla="*/ 47461 h 1471057"/>
                <a:gd name="connsiteX82" fmla="*/ 285276 w 422872"/>
                <a:gd name="connsiteY82" fmla="*/ 33065 h 1471057"/>
                <a:gd name="connsiteX83" fmla="*/ 274929 w 422872"/>
                <a:gd name="connsiteY83" fmla="*/ 19569 h 1471057"/>
                <a:gd name="connsiteX84" fmla="*/ 253785 w 422872"/>
                <a:gd name="connsiteY84" fmla="*/ 7423 h 1471057"/>
                <a:gd name="connsiteX85" fmla="*/ 240739 w 422872"/>
                <a:gd name="connsiteY85" fmla="*/ 5174 h 1471057"/>
                <a:gd name="connsiteX86" fmla="*/ 233991 w 422872"/>
                <a:gd name="connsiteY86" fmla="*/ 6973 h 1471057"/>
                <a:gd name="connsiteX87" fmla="*/ 234441 w 422872"/>
                <a:gd name="connsiteY87" fmla="*/ 3374 h 1471057"/>
                <a:gd name="connsiteX88" fmla="*/ 230842 w 422872"/>
                <a:gd name="connsiteY88" fmla="*/ 6073 h 1471057"/>
                <a:gd name="connsiteX89" fmla="*/ 221395 w 422872"/>
                <a:gd name="connsiteY89" fmla="*/ 6523 h 1471057"/>
                <a:gd name="connsiteX90" fmla="*/ 212848 w 422872"/>
                <a:gd name="connsiteY90" fmla="*/ 8322 h 1471057"/>
                <a:gd name="connsiteX91" fmla="*/ 191704 w 422872"/>
                <a:gd name="connsiteY91" fmla="*/ 20469 h 1471057"/>
                <a:gd name="connsiteX92" fmla="*/ 180008 w 422872"/>
                <a:gd name="connsiteY92" fmla="*/ 27217 h 1471057"/>
                <a:gd name="connsiteX93" fmla="*/ 168311 w 422872"/>
                <a:gd name="connsiteY93" fmla="*/ 37114 h 1471057"/>
                <a:gd name="connsiteX94" fmla="*/ 161563 w 422872"/>
                <a:gd name="connsiteY94" fmla="*/ 58707 h 1471057"/>
                <a:gd name="connsiteX95" fmla="*/ 160214 w 422872"/>
                <a:gd name="connsiteY95" fmla="*/ 83450 h 1471057"/>
                <a:gd name="connsiteX96" fmla="*/ 161563 w 422872"/>
                <a:gd name="connsiteY96" fmla="*/ 103694 h 1471057"/>
                <a:gd name="connsiteX97" fmla="*/ 163813 w 422872"/>
                <a:gd name="connsiteY97" fmla="*/ 114940 h 1471057"/>
                <a:gd name="connsiteX98" fmla="*/ 155265 w 422872"/>
                <a:gd name="connsiteY98" fmla="*/ 121688 h 1471057"/>
                <a:gd name="connsiteX99" fmla="*/ 161563 w 422872"/>
                <a:gd name="connsiteY99" fmla="*/ 146431 h 1471057"/>
                <a:gd name="connsiteX100" fmla="*/ 178658 w 422872"/>
                <a:gd name="connsiteY100" fmla="*/ 163526 h 1471057"/>
                <a:gd name="connsiteX101" fmla="*/ 183606 w 422872"/>
                <a:gd name="connsiteY101" fmla="*/ 193667 h 1471057"/>
                <a:gd name="connsiteX102" fmla="*/ 183606 w 422872"/>
                <a:gd name="connsiteY102" fmla="*/ 193667 h 1471057"/>
                <a:gd name="connsiteX103" fmla="*/ 183157 w 422872"/>
                <a:gd name="connsiteY103" fmla="*/ 195016 h 1471057"/>
                <a:gd name="connsiteX104" fmla="*/ 183157 w 422872"/>
                <a:gd name="connsiteY104" fmla="*/ 195016 h 1471057"/>
                <a:gd name="connsiteX105" fmla="*/ 173710 w 422872"/>
                <a:gd name="connsiteY105" fmla="*/ 208962 h 1471057"/>
                <a:gd name="connsiteX106" fmla="*/ 165612 w 422872"/>
                <a:gd name="connsiteY106" fmla="*/ 225157 h 1471057"/>
                <a:gd name="connsiteX107" fmla="*/ 165162 w 422872"/>
                <a:gd name="connsiteY107" fmla="*/ 228756 h 1471057"/>
                <a:gd name="connsiteX108" fmla="*/ 120625 w 422872"/>
                <a:gd name="connsiteY108" fmla="*/ 243602 h 1471057"/>
                <a:gd name="connsiteX109" fmla="*/ 62593 w 422872"/>
                <a:gd name="connsiteY109" fmla="*/ 275542 h 1471057"/>
                <a:gd name="connsiteX110" fmla="*/ 39650 w 422872"/>
                <a:gd name="connsiteY110" fmla="*/ 326377 h 1471057"/>
                <a:gd name="connsiteX111" fmla="*/ 27504 w 422872"/>
                <a:gd name="connsiteY111" fmla="*/ 403304 h 1471057"/>
                <a:gd name="connsiteX112" fmla="*/ 18956 w 422872"/>
                <a:gd name="connsiteY112" fmla="*/ 484279 h 1471057"/>
                <a:gd name="connsiteX113" fmla="*/ 30203 w 422872"/>
                <a:gd name="connsiteY113" fmla="*/ 522068 h 1471057"/>
                <a:gd name="connsiteX114" fmla="*/ 44598 w 422872"/>
                <a:gd name="connsiteY114" fmla="*/ 542312 h 1471057"/>
                <a:gd name="connsiteX115" fmla="*/ 37850 w 422872"/>
                <a:gd name="connsiteY115" fmla="*/ 588648 h 1471057"/>
                <a:gd name="connsiteX116" fmla="*/ 48197 w 422872"/>
                <a:gd name="connsiteY116" fmla="*/ 612491 h 1471057"/>
                <a:gd name="connsiteX117" fmla="*/ 49547 w 422872"/>
                <a:gd name="connsiteY117" fmla="*/ 612940 h 1471057"/>
                <a:gd name="connsiteX118" fmla="*/ 48197 w 422872"/>
                <a:gd name="connsiteY118" fmla="*/ 622838 h 1471057"/>
                <a:gd name="connsiteX119" fmla="*/ 48197 w 422872"/>
                <a:gd name="connsiteY119" fmla="*/ 634984 h 1471057"/>
                <a:gd name="connsiteX120" fmla="*/ 45498 w 422872"/>
                <a:gd name="connsiteY120" fmla="*/ 646231 h 1471057"/>
                <a:gd name="connsiteX121" fmla="*/ 43249 w 422872"/>
                <a:gd name="connsiteY121" fmla="*/ 656577 h 1471057"/>
                <a:gd name="connsiteX122" fmla="*/ 41899 w 422872"/>
                <a:gd name="connsiteY122" fmla="*/ 659276 h 1471057"/>
                <a:gd name="connsiteX123" fmla="*/ 36951 w 422872"/>
                <a:gd name="connsiteY123" fmla="*/ 679520 h 1471057"/>
                <a:gd name="connsiteX124" fmla="*/ 24804 w 422872"/>
                <a:gd name="connsiteY124" fmla="*/ 788837 h 1471057"/>
                <a:gd name="connsiteX125" fmla="*/ 27953 w 422872"/>
                <a:gd name="connsiteY125" fmla="*/ 814930 h 1471057"/>
                <a:gd name="connsiteX126" fmla="*/ 24355 w 422872"/>
                <a:gd name="connsiteY126" fmla="*/ 864865 h 1471057"/>
                <a:gd name="connsiteX127" fmla="*/ 25704 w 422872"/>
                <a:gd name="connsiteY127" fmla="*/ 904453 h 1471057"/>
                <a:gd name="connsiteX128" fmla="*/ 26154 w 422872"/>
                <a:gd name="connsiteY128" fmla="*/ 1007472 h 1471057"/>
                <a:gd name="connsiteX129" fmla="*/ 27504 w 422872"/>
                <a:gd name="connsiteY129" fmla="*/ 1056057 h 1471057"/>
                <a:gd name="connsiteX130" fmla="*/ 27504 w 422872"/>
                <a:gd name="connsiteY130" fmla="*/ 1127136 h 1471057"/>
                <a:gd name="connsiteX131" fmla="*/ 22555 w 422872"/>
                <a:gd name="connsiteY131" fmla="*/ 1284138 h 1471057"/>
                <a:gd name="connsiteX132" fmla="*/ 18056 w 422872"/>
                <a:gd name="connsiteY132" fmla="*/ 1340821 h 1471057"/>
                <a:gd name="connsiteX133" fmla="*/ 26604 w 422872"/>
                <a:gd name="connsiteY133" fmla="*/ 1360165 h 1471057"/>
                <a:gd name="connsiteX134" fmla="*/ 27953 w 422872"/>
                <a:gd name="connsiteY134" fmla="*/ 1392106 h 1471057"/>
                <a:gd name="connsiteX135" fmla="*/ 31552 w 422872"/>
                <a:gd name="connsiteY135" fmla="*/ 1416848 h 1471057"/>
                <a:gd name="connsiteX136" fmla="*/ 13108 w 422872"/>
                <a:gd name="connsiteY136" fmla="*/ 1437092 h 1471057"/>
                <a:gd name="connsiteX137" fmla="*/ 7709 w 422872"/>
                <a:gd name="connsiteY137" fmla="*/ 1456886 h 1471057"/>
                <a:gd name="connsiteX138" fmla="*/ 7260 w 422872"/>
                <a:gd name="connsiteY138" fmla="*/ 1464984 h 14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422872" h="1471057">
                  <a:moveTo>
                    <a:pt x="7260" y="1464984"/>
                  </a:moveTo>
                  <a:cubicBezTo>
                    <a:pt x="13558" y="1466783"/>
                    <a:pt x="73840" y="1469033"/>
                    <a:pt x="81487" y="1468583"/>
                  </a:cubicBezTo>
                  <a:cubicBezTo>
                    <a:pt x="89135" y="1468133"/>
                    <a:pt x="97682" y="1464984"/>
                    <a:pt x="97682" y="1464984"/>
                  </a:cubicBezTo>
                  <a:cubicBezTo>
                    <a:pt x="97682" y="1464984"/>
                    <a:pt x="101281" y="1466783"/>
                    <a:pt x="103081" y="1467233"/>
                  </a:cubicBezTo>
                  <a:cubicBezTo>
                    <a:pt x="104880" y="1467683"/>
                    <a:pt x="121075" y="1465884"/>
                    <a:pt x="122425" y="1464984"/>
                  </a:cubicBezTo>
                  <a:cubicBezTo>
                    <a:pt x="123774" y="1463634"/>
                    <a:pt x="122425" y="1451488"/>
                    <a:pt x="122425" y="1445190"/>
                  </a:cubicBezTo>
                  <a:cubicBezTo>
                    <a:pt x="124674" y="1444290"/>
                    <a:pt x="126024" y="1438892"/>
                    <a:pt x="124674" y="1434843"/>
                  </a:cubicBezTo>
                  <a:cubicBezTo>
                    <a:pt x="123774" y="1431244"/>
                    <a:pt x="122875" y="1427645"/>
                    <a:pt x="122875" y="1424946"/>
                  </a:cubicBezTo>
                  <a:cubicBezTo>
                    <a:pt x="128273" y="1427195"/>
                    <a:pt x="128723" y="1426746"/>
                    <a:pt x="128723" y="1426746"/>
                  </a:cubicBezTo>
                  <a:cubicBezTo>
                    <a:pt x="139970" y="1423596"/>
                    <a:pt x="133222" y="1419098"/>
                    <a:pt x="132322" y="1413699"/>
                  </a:cubicBezTo>
                  <a:cubicBezTo>
                    <a:pt x="131872" y="1411450"/>
                    <a:pt x="130522" y="1410100"/>
                    <a:pt x="129623" y="1409201"/>
                  </a:cubicBezTo>
                  <a:cubicBezTo>
                    <a:pt x="129623" y="1408301"/>
                    <a:pt x="129623" y="1407401"/>
                    <a:pt x="129173" y="1406502"/>
                  </a:cubicBezTo>
                  <a:cubicBezTo>
                    <a:pt x="133222" y="1406052"/>
                    <a:pt x="141769" y="1412800"/>
                    <a:pt x="146268" y="1393905"/>
                  </a:cubicBezTo>
                  <a:cubicBezTo>
                    <a:pt x="150766" y="1375011"/>
                    <a:pt x="144468" y="1346669"/>
                    <a:pt x="142219" y="1329575"/>
                  </a:cubicBezTo>
                  <a:cubicBezTo>
                    <a:pt x="139970" y="1312480"/>
                    <a:pt x="135471" y="1271542"/>
                    <a:pt x="135471" y="1233304"/>
                  </a:cubicBezTo>
                  <a:cubicBezTo>
                    <a:pt x="138620" y="1175721"/>
                    <a:pt x="142669" y="1111390"/>
                    <a:pt x="145368" y="1073602"/>
                  </a:cubicBezTo>
                  <a:cubicBezTo>
                    <a:pt x="146718" y="1067304"/>
                    <a:pt x="148067" y="1060556"/>
                    <a:pt x="149867" y="1053358"/>
                  </a:cubicBezTo>
                  <a:cubicBezTo>
                    <a:pt x="154365" y="1034464"/>
                    <a:pt x="153466" y="1004772"/>
                    <a:pt x="154365" y="984528"/>
                  </a:cubicBezTo>
                  <a:cubicBezTo>
                    <a:pt x="158864" y="948989"/>
                    <a:pt x="164262" y="907152"/>
                    <a:pt x="167861" y="882859"/>
                  </a:cubicBezTo>
                  <a:cubicBezTo>
                    <a:pt x="170110" y="873412"/>
                    <a:pt x="172360" y="862166"/>
                    <a:pt x="174159" y="852718"/>
                  </a:cubicBezTo>
                  <a:cubicBezTo>
                    <a:pt x="177758" y="838773"/>
                    <a:pt x="181807" y="819878"/>
                    <a:pt x="182257" y="822127"/>
                  </a:cubicBezTo>
                  <a:cubicBezTo>
                    <a:pt x="183157" y="824377"/>
                    <a:pt x="190804" y="852268"/>
                    <a:pt x="193503" y="865314"/>
                  </a:cubicBezTo>
                  <a:cubicBezTo>
                    <a:pt x="195753" y="878361"/>
                    <a:pt x="199802" y="908051"/>
                    <a:pt x="199802" y="923797"/>
                  </a:cubicBezTo>
                  <a:cubicBezTo>
                    <a:pt x="199802" y="939992"/>
                    <a:pt x="198452" y="1051558"/>
                    <a:pt x="199802" y="1056957"/>
                  </a:cubicBezTo>
                  <a:cubicBezTo>
                    <a:pt x="201151" y="1062355"/>
                    <a:pt x="200251" y="1081249"/>
                    <a:pt x="199802" y="1090697"/>
                  </a:cubicBezTo>
                  <a:cubicBezTo>
                    <a:pt x="199352" y="1100144"/>
                    <a:pt x="206100" y="1125786"/>
                    <a:pt x="207899" y="1130734"/>
                  </a:cubicBezTo>
                  <a:cubicBezTo>
                    <a:pt x="209249" y="1135683"/>
                    <a:pt x="203850" y="1184268"/>
                    <a:pt x="202951" y="1210811"/>
                  </a:cubicBezTo>
                  <a:cubicBezTo>
                    <a:pt x="202051" y="1237802"/>
                    <a:pt x="200251" y="1326426"/>
                    <a:pt x="197552" y="1343970"/>
                  </a:cubicBezTo>
                  <a:cubicBezTo>
                    <a:pt x="192604" y="1371862"/>
                    <a:pt x="202051" y="1393455"/>
                    <a:pt x="200251" y="1415949"/>
                  </a:cubicBezTo>
                  <a:cubicBezTo>
                    <a:pt x="199802" y="1419098"/>
                    <a:pt x="195753" y="1435743"/>
                    <a:pt x="195753" y="1446989"/>
                  </a:cubicBezTo>
                  <a:cubicBezTo>
                    <a:pt x="195753" y="1451038"/>
                    <a:pt x="199352" y="1451938"/>
                    <a:pt x="199352" y="1453737"/>
                  </a:cubicBezTo>
                  <a:cubicBezTo>
                    <a:pt x="199352" y="1460935"/>
                    <a:pt x="198452" y="1465884"/>
                    <a:pt x="199802" y="1465884"/>
                  </a:cubicBezTo>
                  <a:cubicBezTo>
                    <a:pt x="201151" y="1465884"/>
                    <a:pt x="228593" y="1465434"/>
                    <a:pt x="230392" y="1465884"/>
                  </a:cubicBezTo>
                  <a:cubicBezTo>
                    <a:pt x="232192" y="1465434"/>
                    <a:pt x="244788" y="1462735"/>
                    <a:pt x="244788" y="1462735"/>
                  </a:cubicBezTo>
                  <a:cubicBezTo>
                    <a:pt x="244788" y="1462735"/>
                    <a:pt x="247937" y="1464534"/>
                    <a:pt x="256935" y="1467683"/>
                  </a:cubicBezTo>
                  <a:cubicBezTo>
                    <a:pt x="329363" y="1473981"/>
                    <a:pt x="353205" y="1463634"/>
                    <a:pt x="355905" y="1462285"/>
                  </a:cubicBezTo>
                  <a:cubicBezTo>
                    <a:pt x="358604" y="1460935"/>
                    <a:pt x="358604" y="1456886"/>
                    <a:pt x="355455" y="1455537"/>
                  </a:cubicBezTo>
                  <a:cubicBezTo>
                    <a:pt x="355005" y="1451488"/>
                    <a:pt x="355005" y="1443390"/>
                    <a:pt x="352306" y="1441141"/>
                  </a:cubicBezTo>
                  <a:cubicBezTo>
                    <a:pt x="349607" y="1438892"/>
                    <a:pt x="336560" y="1436193"/>
                    <a:pt x="331162" y="1433943"/>
                  </a:cubicBezTo>
                  <a:cubicBezTo>
                    <a:pt x="325764" y="1431694"/>
                    <a:pt x="308669" y="1419548"/>
                    <a:pt x="305970" y="1415499"/>
                  </a:cubicBezTo>
                  <a:cubicBezTo>
                    <a:pt x="305970" y="1408751"/>
                    <a:pt x="309568" y="1402902"/>
                    <a:pt x="312718" y="1391206"/>
                  </a:cubicBezTo>
                  <a:cubicBezTo>
                    <a:pt x="316316" y="1379510"/>
                    <a:pt x="310918" y="1372762"/>
                    <a:pt x="308219" y="1365564"/>
                  </a:cubicBezTo>
                  <a:cubicBezTo>
                    <a:pt x="305070" y="1358366"/>
                    <a:pt x="301471" y="1338122"/>
                    <a:pt x="302371" y="1323277"/>
                  </a:cubicBezTo>
                  <a:cubicBezTo>
                    <a:pt x="303271" y="1308431"/>
                    <a:pt x="304170" y="1289087"/>
                    <a:pt x="304170" y="1259846"/>
                  </a:cubicBezTo>
                  <a:cubicBezTo>
                    <a:pt x="304170" y="1253548"/>
                    <a:pt x="304170" y="1246800"/>
                    <a:pt x="304170" y="1240052"/>
                  </a:cubicBezTo>
                  <a:cubicBezTo>
                    <a:pt x="304620" y="1224756"/>
                    <a:pt x="304620" y="1210811"/>
                    <a:pt x="304620" y="1202713"/>
                  </a:cubicBezTo>
                  <a:cubicBezTo>
                    <a:pt x="304620" y="1196865"/>
                    <a:pt x="305520" y="1184268"/>
                    <a:pt x="306869" y="1168523"/>
                  </a:cubicBezTo>
                  <a:cubicBezTo>
                    <a:pt x="310468" y="1138382"/>
                    <a:pt x="320365" y="1057407"/>
                    <a:pt x="327113" y="1007022"/>
                  </a:cubicBezTo>
                  <a:cubicBezTo>
                    <a:pt x="334311" y="952588"/>
                    <a:pt x="346457" y="860816"/>
                    <a:pt x="348707" y="843271"/>
                  </a:cubicBezTo>
                  <a:cubicBezTo>
                    <a:pt x="350506" y="829325"/>
                    <a:pt x="346907" y="777591"/>
                    <a:pt x="345108" y="755997"/>
                  </a:cubicBezTo>
                  <a:cubicBezTo>
                    <a:pt x="344658" y="743851"/>
                    <a:pt x="343758" y="733954"/>
                    <a:pt x="343758" y="729005"/>
                  </a:cubicBezTo>
                  <a:cubicBezTo>
                    <a:pt x="342409" y="710561"/>
                    <a:pt x="330262" y="648930"/>
                    <a:pt x="327563" y="645781"/>
                  </a:cubicBezTo>
                  <a:cubicBezTo>
                    <a:pt x="328013" y="641732"/>
                    <a:pt x="327113" y="637233"/>
                    <a:pt x="328013" y="634084"/>
                  </a:cubicBezTo>
                  <a:cubicBezTo>
                    <a:pt x="330262" y="633184"/>
                    <a:pt x="332961" y="632285"/>
                    <a:pt x="334311" y="629135"/>
                  </a:cubicBezTo>
                  <a:cubicBezTo>
                    <a:pt x="334311" y="629135"/>
                    <a:pt x="334311" y="629135"/>
                    <a:pt x="334311" y="629135"/>
                  </a:cubicBezTo>
                  <a:cubicBezTo>
                    <a:pt x="334761" y="628236"/>
                    <a:pt x="334761" y="627786"/>
                    <a:pt x="334761" y="627336"/>
                  </a:cubicBezTo>
                  <a:cubicBezTo>
                    <a:pt x="335211" y="625987"/>
                    <a:pt x="335211" y="624637"/>
                    <a:pt x="335211" y="622838"/>
                  </a:cubicBezTo>
                  <a:cubicBezTo>
                    <a:pt x="335211" y="607992"/>
                    <a:pt x="334761" y="571103"/>
                    <a:pt x="334761" y="571103"/>
                  </a:cubicBezTo>
                  <a:cubicBezTo>
                    <a:pt x="341059" y="575602"/>
                    <a:pt x="372550" y="574702"/>
                    <a:pt x="382897" y="572902"/>
                  </a:cubicBezTo>
                  <a:cubicBezTo>
                    <a:pt x="393243" y="571103"/>
                    <a:pt x="413487" y="563455"/>
                    <a:pt x="417536" y="556258"/>
                  </a:cubicBezTo>
                  <a:cubicBezTo>
                    <a:pt x="421585" y="549060"/>
                    <a:pt x="418886" y="522518"/>
                    <a:pt x="417536" y="512621"/>
                  </a:cubicBezTo>
                  <a:cubicBezTo>
                    <a:pt x="416186" y="502274"/>
                    <a:pt x="412138" y="419948"/>
                    <a:pt x="410338" y="396106"/>
                  </a:cubicBezTo>
                  <a:cubicBezTo>
                    <a:pt x="408089" y="371813"/>
                    <a:pt x="408089" y="354268"/>
                    <a:pt x="407639" y="347970"/>
                  </a:cubicBezTo>
                  <a:cubicBezTo>
                    <a:pt x="407189" y="341672"/>
                    <a:pt x="400441" y="330875"/>
                    <a:pt x="397742" y="327726"/>
                  </a:cubicBezTo>
                  <a:cubicBezTo>
                    <a:pt x="395043" y="324127"/>
                    <a:pt x="395943" y="317829"/>
                    <a:pt x="393243" y="309282"/>
                  </a:cubicBezTo>
                  <a:cubicBezTo>
                    <a:pt x="390544" y="300285"/>
                    <a:pt x="381547" y="293986"/>
                    <a:pt x="376598" y="289488"/>
                  </a:cubicBezTo>
                  <a:cubicBezTo>
                    <a:pt x="371650" y="284989"/>
                    <a:pt x="363552" y="280041"/>
                    <a:pt x="353655" y="277342"/>
                  </a:cubicBezTo>
                  <a:cubicBezTo>
                    <a:pt x="343758" y="274642"/>
                    <a:pt x="334311" y="267894"/>
                    <a:pt x="326664" y="265195"/>
                  </a:cubicBezTo>
                  <a:cubicBezTo>
                    <a:pt x="318566" y="262046"/>
                    <a:pt x="287525" y="245851"/>
                    <a:pt x="284826" y="244052"/>
                  </a:cubicBezTo>
                  <a:cubicBezTo>
                    <a:pt x="282127" y="242702"/>
                    <a:pt x="279878" y="241802"/>
                    <a:pt x="279878" y="237304"/>
                  </a:cubicBezTo>
                  <a:cubicBezTo>
                    <a:pt x="279878" y="232355"/>
                    <a:pt x="278528" y="218859"/>
                    <a:pt x="278528" y="215260"/>
                  </a:cubicBezTo>
                  <a:cubicBezTo>
                    <a:pt x="278528" y="211661"/>
                    <a:pt x="275829" y="205813"/>
                    <a:pt x="276279" y="207613"/>
                  </a:cubicBezTo>
                  <a:lnTo>
                    <a:pt x="274029" y="209862"/>
                  </a:lnTo>
                  <a:cubicBezTo>
                    <a:pt x="274929" y="207613"/>
                    <a:pt x="277628" y="203564"/>
                    <a:pt x="278978" y="201764"/>
                  </a:cubicBezTo>
                  <a:cubicBezTo>
                    <a:pt x="281227" y="199065"/>
                    <a:pt x="284826" y="190068"/>
                    <a:pt x="288425" y="175222"/>
                  </a:cubicBezTo>
                  <a:cubicBezTo>
                    <a:pt x="292024" y="160377"/>
                    <a:pt x="292924" y="144182"/>
                    <a:pt x="294723" y="136534"/>
                  </a:cubicBezTo>
                  <a:cubicBezTo>
                    <a:pt x="296972" y="134284"/>
                    <a:pt x="297872" y="127087"/>
                    <a:pt x="298322" y="124388"/>
                  </a:cubicBezTo>
                  <a:cubicBezTo>
                    <a:pt x="298772" y="121239"/>
                    <a:pt x="299222" y="115390"/>
                    <a:pt x="298322" y="111341"/>
                  </a:cubicBezTo>
                  <a:cubicBezTo>
                    <a:pt x="297422" y="107293"/>
                    <a:pt x="299222" y="104594"/>
                    <a:pt x="301021" y="99645"/>
                  </a:cubicBezTo>
                  <a:cubicBezTo>
                    <a:pt x="302371" y="94696"/>
                    <a:pt x="297422" y="90198"/>
                    <a:pt x="296073" y="87499"/>
                  </a:cubicBezTo>
                  <a:cubicBezTo>
                    <a:pt x="294723" y="84799"/>
                    <a:pt x="295173" y="82100"/>
                    <a:pt x="295623" y="77602"/>
                  </a:cubicBezTo>
                  <a:cubicBezTo>
                    <a:pt x="295623" y="73103"/>
                    <a:pt x="291574" y="53759"/>
                    <a:pt x="290224" y="47461"/>
                  </a:cubicBezTo>
                  <a:cubicBezTo>
                    <a:pt x="288875" y="41163"/>
                    <a:pt x="287525" y="38913"/>
                    <a:pt x="285276" y="33065"/>
                  </a:cubicBezTo>
                  <a:cubicBezTo>
                    <a:pt x="283027" y="27667"/>
                    <a:pt x="279428" y="25867"/>
                    <a:pt x="274929" y="19569"/>
                  </a:cubicBezTo>
                  <a:cubicBezTo>
                    <a:pt x="270430" y="13271"/>
                    <a:pt x="258284" y="8322"/>
                    <a:pt x="253785" y="7423"/>
                  </a:cubicBezTo>
                  <a:cubicBezTo>
                    <a:pt x="249737" y="6073"/>
                    <a:pt x="244338" y="4274"/>
                    <a:pt x="240739" y="5174"/>
                  </a:cubicBezTo>
                  <a:cubicBezTo>
                    <a:pt x="237140" y="6073"/>
                    <a:pt x="233092" y="8322"/>
                    <a:pt x="233991" y="6973"/>
                  </a:cubicBezTo>
                  <a:cubicBezTo>
                    <a:pt x="234891" y="5623"/>
                    <a:pt x="234441" y="3374"/>
                    <a:pt x="234441" y="3374"/>
                  </a:cubicBezTo>
                  <a:cubicBezTo>
                    <a:pt x="234441" y="3374"/>
                    <a:pt x="233092" y="4724"/>
                    <a:pt x="230842" y="6073"/>
                  </a:cubicBezTo>
                  <a:cubicBezTo>
                    <a:pt x="228593" y="7423"/>
                    <a:pt x="225894" y="7423"/>
                    <a:pt x="221395" y="6523"/>
                  </a:cubicBezTo>
                  <a:cubicBezTo>
                    <a:pt x="217346" y="6073"/>
                    <a:pt x="217346" y="6073"/>
                    <a:pt x="212848" y="8322"/>
                  </a:cubicBezTo>
                  <a:cubicBezTo>
                    <a:pt x="208349" y="10572"/>
                    <a:pt x="198452" y="15520"/>
                    <a:pt x="191704" y="20469"/>
                  </a:cubicBezTo>
                  <a:cubicBezTo>
                    <a:pt x="184956" y="25867"/>
                    <a:pt x="185406" y="24518"/>
                    <a:pt x="180008" y="27217"/>
                  </a:cubicBezTo>
                  <a:cubicBezTo>
                    <a:pt x="174609" y="29916"/>
                    <a:pt x="172360" y="32615"/>
                    <a:pt x="168311" y="37114"/>
                  </a:cubicBezTo>
                  <a:cubicBezTo>
                    <a:pt x="164262" y="41612"/>
                    <a:pt x="162463" y="48810"/>
                    <a:pt x="161563" y="58707"/>
                  </a:cubicBezTo>
                  <a:cubicBezTo>
                    <a:pt x="160663" y="68604"/>
                    <a:pt x="161113" y="78501"/>
                    <a:pt x="160214" y="83450"/>
                  </a:cubicBezTo>
                  <a:cubicBezTo>
                    <a:pt x="159314" y="88398"/>
                    <a:pt x="160663" y="99645"/>
                    <a:pt x="161563" y="103694"/>
                  </a:cubicBezTo>
                  <a:cubicBezTo>
                    <a:pt x="162013" y="107743"/>
                    <a:pt x="164712" y="113141"/>
                    <a:pt x="163813" y="114940"/>
                  </a:cubicBezTo>
                  <a:cubicBezTo>
                    <a:pt x="154365" y="109992"/>
                    <a:pt x="153915" y="118989"/>
                    <a:pt x="155265" y="121688"/>
                  </a:cubicBezTo>
                  <a:cubicBezTo>
                    <a:pt x="156615" y="124388"/>
                    <a:pt x="158414" y="133835"/>
                    <a:pt x="161563" y="146431"/>
                  </a:cubicBezTo>
                  <a:cubicBezTo>
                    <a:pt x="164712" y="158577"/>
                    <a:pt x="176858" y="160827"/>
                    <a:pt x="178658" y="163526"/>
                  </a:cubicBezTo>
                  <a:cubicBezTo>
                    <a:pt x="180907" y="166675"/>
                    <a:pt x="182707" y="181070"/>
                    <a:pt x="183606" y="193667"/>
                  </a:cubicBezTo>
                  <a:cubicBezTo>
                    <a:pt x="183606" y="193667"/>
                    <a:pt x="183606" y="193667"/>
                    <a:pt x="183606" y="193667"/>
                  </a:cubicBezTo>
                  <a:cubicBezTo>
                    <a:pt x="183606" y="194117"/>
                    <a:pt x="183606" y="194566"/>
                    <a:pt x="183157" y="195016"/>
                  </a:cubicBezTo>
                  <a:cubicBezTo>
                    <a:pt x="183157" y="195016"/>
                    <a:pt x="183157" y="195016"/>
                    <a:pt x="183157" y="195016"/>
                  </a:cubicBezTo>
                  <a:cubicBezTo>
                    <a:pt x="178658" y="196366"/>
                    <a:pt x="176409" y="203114"/>
                    <a:pt x="173710" y="208962"/>
                  </a:cubicBezTo>
                  <a:cubicBezTo>
                    <a:pt x="170561" y="215260"/>
                    <a:pt x="165612" y="225157"/>
                    <a:pt x="165612" y="225157"/>
                  </a:cubicBezTo>
                  <a:cubicBezTo>
                    <a:pt x="165612" y="225157"/>
                    <a:pt x="166962" y="227857"/>
                    <a:pt x="165162" y="228756"/>
                  </a:cubicBezTo>
                  <a:cubicBezTo>
                    <a:pt x="163363" y="229656"/>
                    <a:pt x="137720" y="236404"/>
                    <a:pt x="120625" y="243602"/>
                  </a:cubicBezTo>
                  <a:cubicBezTo>
                    <a:pt x="103531" y="250799"/>
                    <a:pt x="78788" y="264295"/>
                    <a:pt x="62593" y="275542"/>
                  </a:cubicBezTo>
                  <a:cubicBezTo>
                    <a:pt x="46398" y="286789"/>
                    <a:pt x="40100" y="313331"/>
                    <a:pt x="39650" y="326377"/>
                  </a:cubicBezTo>
                  <a:cubicBezTo>
                    <a:pt x="39200" y="339423"/>
                    <a:pt x="28853" y="386659"/>
                    <a:pt x="27504" y="403304"/>
                  </a:cubicBezTo>
                  <a:cubicBezTo>
                    <a:pt x="26154" y="420398"/>
                    <a:pt x="18056" y="472133"/>
                    <a:pt x="18956" y="484279"/>
                  </a:cubicBezTo>
                  <a:cubicBezTo>
                    <a:pt x="19406" y="496425"/>
                    <a:pt x="26154" y="515320"/>
                    <a:pt x="30203" y="522068"/>
                  </a:cubicBezTo>
                  <a:cubicBezTo>
                    <a:pt x="34252" y="528366"/>
                    <a:pt x="43699" y="539163"/>
                    <a:pt x="44598" y="542312"/>
                  </a:cubicBezTo>
                  <a:cubicBezTo>
                    <a:pt x="45048" y="545911"/>
                    <a:pt x="39200" y="576502"/>
                    <a:pt x="37850" y="588648"/>
                  </a:cubicBezTo>
                  <a:cubicBezTo>
                    <a:pt x="36501" y="600794"/>
                    <a:pt x="45948" y="611141"/>
                    <a:pt x="48197" y="612491"/>
                  </a:cubicBezTo>
                  <a:cubicBezTo>
                    <a:pt x="48197" y="612491"/>
                    <a:pt x="48197" y="612491"/>
                    <a:pt x="49547" y="612940"/>
                  </a:cubicBezTo>
                  <a:cubicBezTo>
                    <a:pt x="49097" y="615640"/>
                    <a:pt x="48197" y="618789"/>
                    <a:pt x="48197" y="622838"/>
                  </a:cubicBezTo>
                  <a:cubicBezTo>
                    <a:pt x="47748" y="630035"/>
                    <a:pt x="48197" y="634984"/>
                    <a:pt x="48197" y="634984"/>
                  </a:cubicBezTo>
                  <a:cubicBezTo>
                    <a:pt x="48197" y="634984"/>
                    <a:pt x="46848" y="639483"/>
                    <a:pt x="45498" y="646231"/>
                  </a:cubicBezTo>
                  <a:cubicBezTo>
                    <a:pt x="44598" y="650279"/>
                    <a:pt x="44148" y="653428"/>
                    <a:pt x="43249" y="656577"/>
                  </a:cubicBezTo>
                  <a:cubicBezTo>
                    <a:pt x="42799" y="657477"/>
                    <a:pt x="42349" y="658377"/>
                    <a:pt x="41899" y="659276"/>
                  </a:cubicBezTo>
                  <a:cubicBezTo>
                    <a:pt x="39650" y="663775"/>
                    <a:pt x="37850" y="675921"/>
                    <a:pt x="36951" y="679520"/>
                  </a:cubicBezTo>
                  <a:cubicBezTo>
                    <a:pt x="28853" y="711461"/>
                    <a:pt x="24355" y="763195"/>
                    <a:pt x="24804" y="788837"/>
                  </a:cubicBezTo>
                  <a:cubicBezTo>
                    <a:pt x="24804" y="794686"/>
                    <a:pt x="26604" y="807732"/>
                    <a:pt x="27953" y="814930"/>
                  </a:cubicBezTo>
                  <a:cubicBezTo>
                    <a:pt x="29303" y="822127"/>
                    <a:pt x="24804" y="856767"/>
                    <a:pt x="24355" y="864865"/>
                  </a:cubicBezTo>
                  <a:cubicBezTo>
                    <a:pt x="23904" y="872962"/>
                    <a:pt x="24355" y="895006"/>
                    <a:pt x="25704" y="904453"/>
                  </a:cubicBezTo>
                  <a:cubicBezTo>
                    <a:pt x="27054" y="913900"/>
                    <a:pt x="26154" y="991276"/>
                    <a:pt x="26154" y="1007472"/>
                  </a:cubicBezTo>
                  <a:cubicBezTo>
                    <a:pt x="26154" y="1023667"/>
                    <a:pt x="28403" y="1049309"/>
                    <a:pt x="27504" y="1056057"/>
                  </a:cubicBezTo>
                  <a:cubicBezTo>
                    <a:pt x="26604" y="1062805"/>
                    <a:pt x="27504" y="1114090"/>
                    <a:pt x="27504" y="1127136"/>
                  </a:cubicBezTo>
                  <a:cubicBezTo>
                    <a:pt x="27504" y="1139282"/>
                    <a:pt x="23005" y="1258946"/>
                    <a:pt x="22555" y="1284138"/>
                  </a:cubicBezTo>
                  <a:cubicBezTo>
                    <a:pt x="22105" y="1305282"/>
                    <a:pt x="17607" y="1332274"/>
                    <a:pt x="18056" y="1340821"/>
                  </a:cubicBezTo>
                  <a:cubicBezTo>
                    <a:pt x="18506" y="1349369"/>
                    <a:pt x="25704" y="1353417"/>
                    <a:pt x="26604" y="1360165"/>
                  </a:cubicBezTo>
                  <a:cubicBezTo>
                    <a:pt x="27504" y="1366464"/>
                    <a:pt x="28853" y="1382659"/>
                    <a:pt x="27953" y="1392106"/>
                  </a:cubicBezTo>
                  <a:cubicBezTo>
                    <a:pt x="26604" y="1401553"/>
                    <a:pt x="32002" y="1414149"/>
                    <a:pt x="31552" y="1416848"/>
                  </a:cubicBezTo>
                  <a:cubicBezTo>
                    <a:pt x="31102" y="1419548"/>
                    <a:pt x="21205" y="1430344"/>
                    <a:pt x="13108" y="1437092"/>
                  </a:cubicBezTo>
                  <a:cubicBezTo>
                    <a:pt x="4560" y="1443840"/>
                    <a:pt x="7709" y="1456886"/>
                    <a:pt x="7709" y="1456886"/>
                  </a:cubicBezTo>
                  <a:cubicBezTo>
                    <a:pt x="3211" y="1456886"/>
                    <a:pt x="962" y="1463184"/>
                    <a:pt x="7260" y="1464984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9CA19DE7-FE4A-4FC4-BE6C-FF8715FEA32C}"/>
                </a:ext>
              </a:extLst>
            </p:cNvPr>
            <p:cNvSpPr/>
            <p:nvPr/>
          </p:nvSpPr>
          <p:spPr>
            <a:xfrm>
              <a:off x="8325074" y="4273091"/>
              <a:ext cx="876982" cy="1977874"/>
            </a:xfrm>
            <a:custGeom>
              <a:avLst/>
              <a:gdLst>
                <a:gd name="connsiteX0" fmla="*/ 6091 w 634308"/>
                <a:gd name="connsiteY0" fmla="*/ 1397072 h 1430569"/>
                <a:gd name="connsiteX1" fmla="*/ 1592 w 634308"/>
                <a:gd name="connsiteY1" fmla="*/ 1419115 h 1430569"/>
                <a:gd name="connsiteX2" fmla="*/ 84367 w 634308"/>
                <a:gd name="connsiteY2" fmla="*/ 1425863 h 1430569"/>
                <a:gd name="connsiteX3" fmla="*/ 87966 w 634308"/>
                <a:gd name="connsiteY3" fmla="*/ 1414617 h 1430569"/>
                <a:gd name="connsiteX4" fmla="*/ 133852 w 634308"/>
                <a:gd name="connsiteY4" fmla="*/ 1423164 h 1430569"/>
                <a:gd name="connsiteX5" fmla="*/ 133852 w 634308"/>
                <a:gd name="connsiteY5" fmla="*/ 1426313 h 1430569"/>
                <a:gd name="connsiteX6" fmla="*/ 163543 w 634308"/>
                <a:gd name="connsiteY6" fmla="*/ 1431262 h 1430569"/>
                <a:gd name="connsiteX7" fmla="*/ 187836 w 634308"/>
                <a:gd name="connsiteY7" fmla="*/ 1426763 h 1430569"/>
                <a:gd name="connsiteX8" fmla="*/ 202682 w 634308"/>
                <a:gd name="connsiteY8" fmla="*/ 1429912 h 1430569"/>
                <a:gd name="connsiteX9" fmla="*/ 315598 w 634308"/>
                <a:gd name="connsiteY9" fmla="*/ 1429912 h 1430569"/>
                <a:gd name="connsiteX10" fmla="*/ 338541 w 634308"/>
                <a:gd name="connsiteY10" fmla="*/ 1424964 h 1430569"/>
                <a:gd name="connsiteX11" fmla="*/ 342140 w 634308"/>
                <a:gd name="connsiteY11" fmla="*/ 1421815 h 1430569"/>
                <a:gd name="connsiteX12" fmla="*/ 339890 w 634308"/>
                <a:gd name="connsiteY12" fmla="*/ 1411918 h 1430569"/>
                <a:gd name="connsiteX13" fmla="*/ 333592 w 634308"/>
                <a:gd name="connsiteY13" fmla="*/ 1405619 h 1430569"/>
                <a:gd name="connsiteX14" fmla="*/ 328194 w 634308"/>
                <a:gd name="connsiteY14" fmla="*/ 1398422 h 1430569"/>
                <a:gd name="connsiteX15" fmla="*/ 295354 w 634308"/>
                <a:gd name="connsiteY15" fmla="*/ 1389874 h 1430569"/>
                <a:gd name="connsiteX16" fmla="*/ 278259 w 634308"/>
                <a:gd name="connsiteY16" fmla="*/ 1378178 h 1430569"/>
                <a:gd name="connsiteX17" fmla="*/ 263413 w 634308"/>
                <a:gd name="connsiteY17" fmla="*/ 1364682 h 1430569"/>
                <a:gd name="connsiteX18" fmla="*/ 251267 w 634308"/>
                <a:gd name="connsiteY18" fmla="*/ 1344438 h 1430569"/>
                <a:gd name="connsiteX19" fmla="*/ 254416 w 634308"/>
                <a:gd name="connsiteY19" fmla="*/ 1320145 h 1430569"/>
                <a:gd name="connsiteX20" fmla="*/ 254866 w 634308"/>
                <a:gd name="connsiteY20" fmla="*/ 1305750 h 1430569"/>
                <a:gd name="connsiteX21" fmla="*/ 244519 w 634308"/>
                <a:gd name="connsiteY21" fmla="*/ 1297652 h 1430569"/>
                <a:gd name="connsiteX22" fmla="*/ 249917 w 634308"/>
                <a:gd name="connsiteY22" fmla="*/ 1277858 h 1430569"/>
                <a:gd name="connsiteX23" fmla="*/ 244969 w 634308"/>
                <a:gd name="connsiteY23" fmla="*/ 1261663 h 1430569"/>
                <a:gd name="connsiteX24" fmla="*/ 233272 w 634308"/>
                <a:gd name="connsiteY24" fmla="*/ 1201381 h 1430569"/>
                <a:gd name="connsiteX25" fmla="*/ 223375 w 634308"/>
                <a:gd name="connsiteY25" fmla="*/ 1155495 h 1430569"/>
                <a:gd name="connsiteX26" fmla="*/ 230573 w 634308"/>
                <a:gd name="connsiteY26" fmla="*/ 1133451 h 1430569"/>
                <a:gd name="connsiteX27" fmla="*/ 240020 w 634308"/>
                <a:gd name="connsiteY27" fmla="*/ 1065072 h 1430569"/>
                <a:gd name="connsiteX28" fmla="*/ 249917 w 634308"/>
                <a:gd name="connsiteY28" fmla="*/ 950806 h 1430569"/>
                <a:gd name="connsiteX29" fmla="*/ 260264 w 634308"/>
                <a:gd name="connsiteY29" fmla="*/ 884226 h 1430569"/>
                <a:gd name="connsiteX30" fmla="*/ 265213 w 634308"/>
                <a:gd name="connsiteY30" fmla="*/ 854535 h 1430569"/>
                <a:gd name="connsiteX31" fmla="*/ 260714 w 634308"/>
                <a:gd name="connsiteY31" fmla="*/ 821245 h 1430569"/>
                <a:gd name="connsiteX32" fmla="*/ 265213 w 634308"/>
                <a:gd name="connsiteY32" fmla="*/ 789755 h 1430569"/>
                <a:gd name="connsiteX33" fmla="*/ 268812 w 634308"/>
                <a:gd name="connsiteY33" fmla="*/ 768161 h 1430569"/>
                <a:gd name="connsiteX34" fmla="*/ 274210 w 634308"/>
                <a:gd name="connsiteY34" fmla="*/ 740270 h 1430569"/>
                <a:gd name="connsiteX35" fmla="*/ 276010 w 634308"/>
                <a:gd name="connsiteY35" fmla="*/ 698882 h 1430569"/>
                <a:gd name="connsiteX36" fmla="*/ 271061 w 634308"/>
                <a:gd name="connsiteY36" fmla="*/ 652096 h 1430569"/>
                <a:gd name="connsiteX37" fmla="*/ 266562 w 634308"/>
                <a:gd name="connsiteY37" fmla="*/ 634102 h 1430569"/>
                <a:gd name="connsiteX38" fmla="*/ 278259 w 634308"/>
                <a:gd name="connsiteY38" fmla="*/ 631852 h 1430569"/>
                <a:gd name="connsiteX39" fmla="*/ 281858 w 634308"/>
                <a:gd name="connsiteY39" fmla="*/ 589115 h 1430569"/>
                <a:gd name="connsiteX40" fmla="*/ 283207 w 634308"/>
                <a:gd name="connsiteY40" fmla="*/ 536031 h 1430569"/>
                <a:gd name="connsiteX41" fmla="*/ 282758 w 634308"/>
                <a:gd name="connsiteY41" fmla="*/ 487896 h 1430569"/>
                <a:gd name="connsiteX42" fmla="*/ 279159 w 634308"/>
                <a:gd name="connsiteY42" fmla="*/ 455955 h 1430569"/>
                <a:gd name="connsiteX43" fmla="*/ 305251 w 634308"/>
                <a:gd name="connsiteY43" fmla="*/ 462703 h 1430569"/>
                <a:gd name="connsiteX44" fmla="*/ 326844 w 634308"/>
                <a:gd name="connsiteY44" fmla="*/ 466752 h 1430569"/>
                <a:gd name="connsiteX45" fmla="*/ 336291 w 634308"/>
                <a:gd name="connsiteY45" fmla="*/ 470801 h 1430569"/>
                <a:gd name="connsiteX46" fmla="*/ 358335 w 634308"/>
                <a:gd name="connsiteY46" fmla="*/ 484747 h 1430569"/>
                <a:gd name="connsiteX47" fmla="*/ 381728 w 634308"/>
                <a:gd name="connsiteY47" fmla="*/ 486546 h 1430569"/>
                <a:gd name="connsiteX48" fmla="*/ 398373 w 634308"/>
                <a:gd name="connsiteY48" fmla="*/ 468552 h 1430569"/>
                <a:gd name="connsiteX49" fmla="*/ 409619 w 634308"/>
                <a:gd name="connsiteY49" fmla="*/ 459104 h 1430569"/>
                <a:gd name="connsiteX50" fmla="*/ 410519 w 634308"/>
                <a:gd name="connsiteY50" fmla="*/ 458654 h 1430569"/>
                <a:gd name="connsiteX51" fmla="*/ 451906 w 634308"/>
                <a:gd name="connsiteY51" fmla="*/ 446058 h 1430569"/>
                <a:gd name="connsiteX52" fmla="*/ 483847 w 634308"/>
                <a:gd name="connsiteY52" fmla="*/ 435262 h 1430569"/>
                <a:gd name="connsiteX53" fmla="*/ 514438 w 634308"/>
                <a:gd name="connsiteY53" fmla="*/ 425365 h 1430569"/>
                <a:gd name="connsiteX54" fmla="*/ 523435 w 634308"/>
                <a:gd name="connsiteY54" fmla="*/ 424465 h 1430569"/>
                <a:gd name="connsiteX55" fmla="*/ 524785 w 634308"/>
                <a:gd name="connsiteY55" fmla="*/ 424915 h 1430569"/>
                <a:gd name="connsiteX56" fmla="*/ 527034 w 634308"/>
                <a:gd name="connsiteY56" fmla="*/ 426264 h 1430569"/>
                <a:gd name="connsiteX57" fmla="*/ 538281 w 634308"/>
                <a:gd name="connsiteY57" fmla="*/ 435262 h 1430569"/>
                <a:gd name="connsiteX58" fmla="*/ 558524 w 634308"/>
                <a:gd name="connsiteY58" fmla="*/ 443809 h 1430569"/>
                <a:gd name="connsiteX59" fmla="*/ 574719 w 634308"/>
                <a:gd name="connsiteY59" fmla="*/ 449657 h 1430569"/>
                <a:gd name="connsiteX60" fmla="*/ 594064 w 634308"/>
                <a:gd name="connsiteY60" fmla="*/ 461804 h 1430569"/>
                <a:gd name="connsiteX61" fmla="*/ 597213 w 634308"/>
                <a:gd name="connsiteY61" fmla="*/ 463603 h 1430569"/>
                <a:gd name="connsiteX62" fmla="*/ 600362 w 634308"/>
                <a:gd name="connsiteY62" fmla="*/ 465402 h 1430569"/>
                <a:gd name="connsiteX63" fmla="*/ 601262 w 634308"/>
                <a:gd name="connsiteY63" fmla="*/ 465852 h 1430569"/>
                <a:gd name="connsiteX64" fmla="*/ 612508 w 634308"/>
                <a:gd name="connsiteY64" fmla="*/ 468552 h 1430569"/>
                <a:gd name="connsiteX65" fmla="*/ 613408 w 634308"/>
                <a:gd name="connsiteY65" fmla="*/ 467652 h 1430569"/>
                <a:gd name="connsiteX66" fmla="*/ 613858 w 634308"/>
                <a:gd name="connsiteY66" fmla="*/ 464053 h 1430569"/>
                <a:gd name="connsiteX67" fmla="*/ 606660 w 634308"/>
                <a:gd name="connsiteY67" fmla="*/ 453706 h 1430569"/>
                <a:gd name="connsiteX68" fmla="*/ 603061 w 634308"/>
                <a:gd name="connsiteY68" fmla="*/ 451007 h 1430569"/>
                <a:gd name="connsiteX69" fmla="*/ 601262 w 634308"/>
                <a:gd name="connsiteY69" fmla="*/ 450107 h 1430569"/>
                <a:gd name="connsiteX70" fmla="*/ 590015 w 634308"/>
                <a:gd name="connsiteY70" fmla="*/ 441560 h 1430569"/>
                <a:gd name="connsiteX71" fmla="*/ 588665 w 634308"/>
                <a:gd name="connsiteY71" fmla="*/ 431213 h 1430569"/>
                <a:gd name="connsiteX72" fmla="*/ 593614 w 634308"/>
                <a:gd name="connsiteY72" fmla="*/ 428964 h 1430569"/>
                <a:gd name="connsiteX73" fmla="*/ 595863 w 634308"/>
                <a:gd name="connsiteY73" fmla="*/ 429413 h 1430569"/>
                <a:gd name="connsiteX74" fmla="*/ 596763 w 634308"/>
                <a:gd name="connsiteY74" fmla="*/ 429863 h 1430569"/>
                <a:gd name="connsiteX75" fmla="*/ 597213 w 634308"/>
                <a:gd name="connsiteY75" fmla="*/ 430313 h 1430569"/>
                <a:gd name="connsiteX76" fmla="*/ 601711 w 634308"/>
                <a:gd name="connsiteY76" fmla="*/ 433462 h 1430569"/>
                <a:gd name="connsiteX77" fmla="*/ 604860 w 634308"/>
                <a:gd name="connsiteY77" fmla="*/ 436161 h 1430569"/>
                <a:gd name="connsiteX78" fmla="*/ 614308 w 634308"/>
                <a:gd name="connsiteY78" fmla="*/ 448758 h 1430569"/>
                <a:gd name="connsiteX79" fmla="*/ 616557 w 634308"/>
                <a:gd name="connsiteY79" fmla="*/ 456855 h 1430569"/>
                <a:gd name="connsiteX80" fmla="*/ 617457 w 634308"/>
                <a:gd name="connsiteY80" fmla="*/ 468552 h 1430569"/>
                <a:gd name="connsiteX81" fmla="*/ 618356 w 634308"/>
                <a:gd name="connsiteY81" fmla="*/ 471701 h 1430569"/>
                <a:gd name="connsiteX82" fmla="*/ 621955 w 634308"/>
                <a:gd name="connsiteY82" fmla="*/ 476649 h 1430569"/>
                <a:gd name="connsiteX83" fmla="*/ 624205 w 634308"/>
                <a:gd name="connsiteY83" fmla="*/ 476649 h 1430569"/>
                <a:gd name="connsiteX84" fmla="*/ 624655 w 634308"/>
                <a:gd name="connsiteY84" fmla="*/ 476199 h 1430569"/>
                <a:gd name="connsiteX85" fmla="*/ 626004 w 634308"/>
                <a:gd name="connsiteY85" fmla="*/ 475750 h 1430569"/>
                <a:gd name="connsiteX86" fmla="*/ 628253 w 634308"/>
                <a:gd name="connsiteY86" fmla="*/ 465852 h 1430569"/>
                <a:gd name="connsiteX87" fmla="*/ 629603 w 634308"/>
                <a:gd name="connsiteY87" fmla="*/ 466302 h 1430569"/>
                <a:gd name="connsiteX88" fmla="*/ 632752 w 634308"/>
                <a:gd name="connsiteY88" fmla="*/ 464953 h 1430569"/>
                <a:gd name="connsiteX89" fmla="*/ 632752 w 634308"/>
                <a:gd name="connsiteY89" fmla="*/ 463603 h 1430569"/>
                <a:gd name="connsiteX90" fmla="*/ 633202 w 634308"/>
                <a:gd name="connsiteY90" fmla="*/ 456855 h 1430569"/>
                <a:gd name="connsiteX91" fmla="*/ 631852 w 634308"/>
                <a:gd name="connsiteY91" fmla="*/ 441110 h 1430569"/>
                <a:gd name="connsiteX92" fmla="*/ 614758 w 634308"/>
                <a:gd name="connsiteY92" fmla="*/ 415917 h 1430569"/>
                <a:gd name="connsiteX93" fmla="*/ 606660 w 634308"/>
                <a:gd name="connsiteY93" fmla="*/ 406021 h 1430569"/>
                <a:gd name="connsiteX94" fmla="*/ 606660 w 634308"/>
                <a:gd name="connsiteY94" fmla="*/ 406021 h 1430569"/>
                <a:gd name="connsiteX95" fmla="*/ 604411 w 634308"/>
                <a:gd name="connsiteY95" fmla="*/ 404671 h 1430569"/>
                <a:gd name="connsiteX96" fmla="*/ 600362 w 634308"/>
                <a:gd name="connsiteY96" fmla="*/ 401972 h 1430569"/>
                <a:gd name="connsiteX97" fmla="*/ 599912 w 634308"/>
                <a:gd name="connsiteY97" fmla="*/ 401522 h 1430569"/>
                <a:gd name="connsiteX98" fmla="*/ 593164 w 634308"/>
                <a:gd name="connsiteY98" fmla="*/ 397473 h 1430569"/>
                <a:gd name="connsiteX99" fmla="*/ 591365 w 634308"/>
                <a:gd name="connsiteY99" fmla="*/ 397473 h 1430569"/>
                <a:gd name="connsiteX100" fmla="*/ 573370 w 634308"/>
                <a:gd name="connsiteY100" fmla="*/ 395224 h 1430569"/>
                <a:gd name="connsiteX101" fmla="*/ 571571 w 634308"/>
                <a:gd name="connsiteY101" fmla="*/ 394774 h 1430569"/>
                <a:gd name="connsiteX102" fmla="*/ 552676 w 634308"/>
                <a:gd name="connsiteY102" fmla="*/ 391625 h 1430569"/>
                <a:gd name="connsiteX103" fmla="*/ 549977 w 634308"/>
                <a:gd name="connsiteY103" fmla="*/ 391175 h 1430569"/>
                <a:gd name="connsiteX104" fmla="*/ 528383 w 634308"/>
                <a:gd name="connsiteY104" fmla="*/ 387126 h 1430569"/>
                <a:gd name="connsiteX105" fmla="*/ 507240 w 634308"/>
                <a:gd name="connsiteY105" fmla="*/ 386226 h 1430569"/>
                <a:gd name="connsiteX106" fmla="*/ 446958 w 634308"/>
                <a:gd name="connsiteY106" fmla="*/ 389825 h 1430569"/>
                <a:gd name="connsiteX107" fmla="*/ 446958 w 634308"/>
                <a:gd name="connsiteY107" fmla="*/ 389825 h 1430569"/>
                <a:gd name="connsiteX108" fmla="*/ 397923 w 634308"/>
                <a:gd name="connsiteY108" fmla="*/ 373630 h 1430569"/>
                <a:gd name="connsiteX109" fmla="*/ 375880 w 634308"/>
                <a:gd name="connsiteY109" fmla="*/ 379029 h 1430569"/>
                <a:gd name="connsiteX110" fmla="*/ 365083 w 634308"/>
                <a:gd name="connsiteY110" fmla="*/ 376329 h 1430569"/>
                <a:gd name="connsiteX111" fmla="*/ 343489 w 634308"/>
                <a:gd name="connsiteY111" fmla="*/ 371381 h 1430569"/>
                <a:gd name="connsiteX112" fmla="*/ 317397 w 634308"/>
                <a:gd name="connsiteY112" fmla="*/ 365083 h 1430569"/>
                <a:gd name="connsiteX113" fmla="*/ 313348 w 634308"/>
                <a:gd name="connsiteY113" fmla="*/ 361484 h 1430569"/>
                <a:gd name="connsiteX114" fmla="*/ 301652 w 634308"/>
                <a:gd name="connsiteY114" fmla="*/ 350687 h 1430569"/>
                <a:gd name="connsiteX115" fmla="*/ 298503 w 634308"/>
                <a:gd name="connsiteY115" fmla="*/ 350687 h 1430569"/>
                <a:gd name="connsiteX116" fmla="*/ 282308 w 634308"/>
                <a:gd name="connsiteY116" fmla="*/ 334942 h 1430569"/>
                <a:gd name="connsiteX117" fmla="*/ 238221 w 634308"/>
                <a:gd name="connsiteY117" fmla="*/ 298503 h 1430569"/>
                <a:gd name="connsiteX118" fmla="*/ 225625 w 634308"/>
                <a:gd name="connsiteY118" fmla="*/ 284557 h 1430569"/>
                <a:gd name="connsiteX119" fmla="*/ 223375 w 634308"/>
                <a:gd name="connsiteY119" fmla="*/ 276459 h 1430569"/>
                <a:gd name="connsiteX120" fmla="*/ 217977 w 634308"/>
                <a:gd name="connsiteY120" fmla="*/ 267912 h 1430569"/>
                <a:gd name="connsiteX121" fmla="*/ 213478 w 634308"/>
                <a:gd name="connsiteY121" fmla="*/ 258465 h 1430569"/>
                <a:gd name="connsiteX122" fmla="*/ 207180 w 634308"/>
                <a:gd name="connsiteY122" fmla="*/ 246319 h 1430569"/>
                <a:gd name="connsiteX123" fmla="*/ 204481 w 634308"/>
                <a:gd name="connsiteY123" fmla="*/ 241820 h 1430569"/>
                <a:gd name="connsiteX124" fmla="*/ 207630 w 634308"/>
                <a:gd name="connsiteY124" fmla="*/ 227424 h 1430569"/>
                <a:gd name="connsiteX125" fmla="*/ 199982 w 634308"/>
                <a:gd name="connsiteY125" fmla="*/ 215728 h 1430569"/>
                <a:gd name="connsiteX126" fmla="*/ 200432 w 634308"/>
                <a:gd name="connsiteY126" fmla="*/ 214828 h 1430569"/>
                <a:gd name="connsiteX127" fmla="*/ 207630 w 634308"/>
                <a:gd name="connsiteY127" fmla="*/ 209430 h 1430569"/>
                <a:gd name="connsiteX128" fmla="*/ 214378 w 634308"/>
                <a:gd name="connsiteY128" fmla="*/ 214378 h 1430569"/>
                <a:gd name="connsiteX129" fmla="*/ 240470 w 634308"/>
                <a:gd name="connsiteY129" fmla="*/ 216627 h 1430569"/>
                <a:gd name="connsiteX130" fmla="*/ 246768 w 634308"/>
                <a:gd name="connsiteY130" fmla="*/ 203131 h 1430569"/>
                <a:gd name="connsiteX131" fmla="*/ 246768 w 634308"/>
                <a:gd name="connsiteY131" fmla="*/ 197733 h 1430569"/>
                <a:gd name="connsiteX132" fmla="*/ 255316 w 634308"/>
                <a:gd name="connsiteY132" fmla="*/ 191435 h 1430569"/>
                <a:gd name="connsiteX133" fmla="*/ 253516 w 634308"/>
                <a:gd name="connsiteY133" fmla="*/ 181538 h 1430569"/>
                <a:gd name="connsiteX134" fmla="*/ 258465 w 634308"/>
                <a:gd name="connsiteY134" fmla="*/ 181538 h 1430569"/>
                <a:gd name="connsiteX135" fmla="*/ 262963 w 634308"/>
                <a:gd name="connsiteY135" fmla="*/ 179738 h 1430569"/>
                <a:gd name="connsiteX136" fmla="*/ 265213 w 634308"/>
                <a:gd name="connsiteY136" fmla="*/ 168492 h 1430569"/>
                <a:gd name="connsiteX137" fmla="*/ 268812 w 634308"/>
                <a:gd name="connsiteY137" fmla="*/ 166243 h 1430569"/>
                <a:gd name="connsiteX138" fmla="*/ 280508 w 634308"/>
                <a:gd name="connsiteY138" fmla="*/ 167592 h 1430569"/>
                <a:gd name="connsiteX139" fmla="*/ 285007 w 634308"/>
                <a:gd name="connsiteY139" fmla="*/ 158145 h 1430569"/>
                <a:gd name="connsiteX140" fmla="*/ 278259 w 634308"/>
                <a:gd name="connsiteY140" fmla="*/ 141500 h 1430569"/>
                <a:gd name="connsiteX141" fmla="*/ 288606 w 634308"/>
                <a:gd name="connsiteY141" fmla="*/ 128004 h 1430569"/>
                <a:gd name="connsiteX142" fmla="*/ 289955 w 634308"/>
                <a:gd name="connsiteY142" fmla="*/ 121706 h 1430569"/>
                <a:gd name="connsiteX143" fmla="*/ 281408 w 634308"/>
                <a:gd name="connsiteY143" fmla="*/ 116757 h 1430569"/>
                <a:gd name="connsiteX144" fmla="*/ 283657 w 634308"/>
                <a:gd name="connsiteY144" fmla="*/ 88866 h 1430569"/>
                <a:gd name="connsiteX145" fmla="*/ 285907 w 634308"/>
                <a:gd name="connsiteY145" fmla="*/ 73571 h 1430569"/>
                <a:gd name="connsiteX146" fmla="*/ 294454 w 634308"/>
                <a:gd name="connsiteY146" fmla="*/ 70421 h 1430569"/>
                <a:gd name="connsiteX147" fmla="*/ 303451 w 634308"/>
                <a:gd name="connsiteY147" fmla="*/ 61424 h 1430569"/>
                <a:gd name="connsiteX148" fmla="*/ 298953 w 634308"/>
                <a:gd name="connsiteY148" fmla="*/ 64123 h 1430569"/>
                <a:gd name="connsiteX149" fmla="*/ 297153 w 634308"/>
                <a:gd name="connsiteY149" fmla="*/ 65023 h 1430569"/>
                <a:gd name="connsiteX150" fmla="*/ 298953 w 634308"/>
                <a:gd name="connsiteY150" fmla="*/ 64123 h 1430569"/>
                <a:gd name="connsiteX151" fmla="*/ 304801 w 634308"/>
                <a:gd name="connsiteY151" fmla="*/ 55126 h 1430569"/>
                <a:gd name="connsiteX152" fmla="*/ 293104 w 634308"/>
                <a:gd name="connsiteY152" fmla="*/ 54676 h 1430569"/>
                <a:gd name="connsiteX153" fmla="*/ 296703 w 634308"/>
                <a:gd name="connsiteY153" fmla="*/ 52877 h 1430569"/>
                <a:gd name="connsiteX154" fmla="*/ 293104 w 634308"/>
                <a:gd name="connsiteY154" fmla="*/ 49728 h 1430569"/>
                <a:gd name="connsiteX155" fmla="*/ 288606 w 634308"/>
                <a:gd name="connsiteY155" fmla="*/ 38481 h 1430569"/>
                <a:gd name="connsiteX156" fmla="*/ 280508 w 634308"/>
                <a:gd name="connsiteY156" fmla="*/ 31283 h 1430569"/>
                <a:gd name="connsiteX157" fmla="*/ 275110 w 634308"/>
                <a:gd name="connsiteY157" fmla="*/ 23186 h 1430569"/>
                <a:gd name="connsiteX158" fmla="*/ 260264 w 634308"/>
                <a:gd name="connsiteY158" fmla="*/ 18687 h 1430569"/>
                <a:gd name="connsiteX159" fmla="*/ 225625 w 634308"/>
                <a:gd name="connsiteY159" fmla="*/ 7440 h 1430569"/>
                <a:gd name="connsiteX160" fmla="*/ 214378 w 634308"/>
                <a:gd name="connsiteY160" fmla="*/ 5641 h 1430569"/>
                <a:gd name="connsiteX161" fmla="*/ 217077 w 634308"/>
                <a:gd name="connsiteY161" fmla="*/ 3392 h 1430569"/>
                <a:gd name="connsiteX162" fmla="*/ 210779 w 634308"/>
                <a:gd name="connsiteY162" fmla="*/ 3392 h 1430569"/>
                <a:gd name="connsiteX163" fmla="*/ 195934 w 634308"/>
                <a:gd name="connsiteY163" fmla="*/ 1592 h 1430569"/>
                <a:gd name="connsiteX164" fmla="*/ 183787 w 634308"/>
                <a:gd name="connsiteY164" fmla="*/ 3842 h 1430569"/>
                <a:gd name="connsiteX165" fmla="*/ 174340 w 634308"/>
                <a:gd name="connsiteY165" fmla="*/ 4741 h 1430569"/>
                <a:gd name="connsiteX166" fmla="*/ 169841 w 634308"/>
                <a:gd name="connsiteY166" fmla="*/ 4741 h 1430569"/>
                <a:gd name="connsiteX167" fmla="*/ 155446 w 634308"/>
                <a:gd name="connsiteY167" fmla="*/ 13289 h 1430569"/>
                <a:gd name="connsiteX168" fmla="*/ 144199 w 634308"/>
                <a:gd name="connsiteY168" fmla="*/ 24535 h 1430569"/>
                <a:gd name="connsiteX169" fmla="*/ 128904 w 634308"/>
                <a:gd name="connsiteY169" fmla="*/ 40730 h 1430569"/>
                <a:gd name="connsiteX170" fmla="*/ 109560 w 634308"/>
                <a:gd name="connsiteY170" fmla="*/ 74470 h 1430569"/>
                <a:gd name="connsiteX171" fmla="*/ 110909 w 634308"/>
                <a:gd name="connsiteY171" fmla="*/ 105961 h 1430569"/>
                <a:gd name="connsiteX172" fmla="*/ 117207 w 634308"/>
                <a:gd name="connsiteY172" fmla="*/ 153646 h 1430569"/>
                <a:gd name="connsiteX173" fmla="*/ 113159 w 634308"/>
                <a:gd name="connsiteY173" fmla="*/ 170291 h 1430569"/>
                <a:gd name="connsiteX174" fmla="*/ 91115 w 634308"/>
                <a:gd name="connsiteY174" fmla="*/ 173890 h 1430569"/>
                <a:gd name="connsiteX175" fmla="*/ 87516 w 634308"/>
                <a:gd name="connsiteY175" fmla="*/ 207180 h 1430569"/>
                <a:gd name="connsiteX176" fmla="*/ 62324 w 634308"/>
                <a:gd name="connsiteY176" fmla="*/ 232823 h 1430569"/>
                <a:gd name="connsiteX177" fmla="*/ 45679 w 634308"/>
                <a:gd name="connsiteY177" fmla="*/ 255766 h 1430569"/>
                <a:gd name="connsiteX178" fmla="*/ 26335 w 634308"/>
                <a:gd name="connsiteY178" fmla="*/ 282758 h 1430569"/>
                <a:gd name="connsiteX179" fmla="*/ 12839 w 634308"/>
                <a:gd name="connsiteY179" fmla="*/ 324145 h 1430569"/>
                <a:gd name="connsiteX180" fmla="*/ 9240 w 634308"/>
                <a:gd name="connsiteY180" fmla="*/ 355636 h 1430569"/>
                <a:gd name="connsiteX181" fmla="*/ 27684 w 634308"/>
                <a:gd name="connsiteY181" fmla="*/ 437061 h 1430569"/>
                <a:gd name="connsiteX182" fmla="*/ 50627 w 634308"/>
                <a:gd name="connsiteY182" fmla="*/ 507240 h 1430569"/>
                <a:gd name="connsiteX183" fmla="*/ 73120 w 634308"/>
                <a:gd name="connsiteY183" fmla="*/ 538281 h 1430569"/>
                <a:gd name="connsiteX184" fmla="*/ 87066 w 634308"/>
                <a:gd name="connsiteY184" fmla="*/ 558075 h 1430569"/>
                <a:gd name="connsiteX185" fmla="*/ 87516 w 634308"/>
                <a:gd name="connsiteY185" fmla="*/ 568422 h 1430569"/>
                <a:gd name="connsiteX186" fmla="*/ 85717 w 634308"/>
                <a:gd name="connsiteY186" fmla="*/ 584167 h 1430569"/>
                <a:gd name="connsiteX187" fmla="*/ 82118 w 634308"/>
                <a:gd name="connsiteY187" fmla="*/ 594064 h 1430569"/>
                <a:gd name="connsiteX188" fmla="*/ 80768 w 634308"/>
                <a:gd name="connsiteY188" fmla="*/ 595863 h 1430569"/>
                <a:gd name="connsiteX189" fmla="*/ 79419 w 634308"/>
                <a:gd name="connsiteY189" fmla="*/ 598563 h 1430569"/>
                <a:gd name="connsiteX190" fmla="*/ 74920 w 634308"/>
                <a:gd name="connsiteY190" fmla="*/ 608909 h 1430569"/>
                <a:gd name="connsiteX191" fmla="*/ 72671 w 634308"/>
                <a:gd name="connsiteY191" fmla="*/ 611159 h 1430569"/>
                <a:gd name="connsiteX192" fmla="*/ 69072 w 634308"/>
                <a:gd name="connsiteY192" fmla="*/ 615208 h 1430569"/>
                <a:gd name="connsiteX193" fmla="*/ 72671 w 634308"/>
                <a:gd name="connsiteY193" fmla="*/ 611608 h 1430569"/>
                <a:gd name="connsiteX194" fmla="*/ 69072 w 634308"/>
                <a:gd name="connsiteY194" fmla="*/ 615208 h 1430569"/>
                <a:gd name="connsiteX195" fmla="*/ 69072 w 634308"/>
                <a:gd name="connsiteY195" fmla="*/ 615208 h 1430569"/>
                <a:gd name="connsiteX196" fmla="*/ 68622 w 634308"/>
                <a:gd name="connsiteY196" fmla="*/ 615657 h 1430569"/>
                <a:gd name="connsiteX197" fmla="*/ 61874 w 634308"/>
                <a:gd name="connsiteY197" fmla="*/ 624205 h 1430569"/>
                <a:gd name="connsiteX198" fmla="*/ 60524 w 634308"/>
                <a:gd name="connsiteY198" fmla="*/ 629153 h 1430569"/>
                <a:gd name="connsiteX199" fmla="*/ 70871 w 634308"/>
                <a:gd name="connsiteY199" fmla="*/ 640850 h 1430569"/>
                <a:gd name="connsiteX200" fmla="*/ 72221 w 634308"/>
                <a:gd name="connsiteY200" fmla="*/ 640400 h 1430569"/>
                <a:gd name="connsiteX201" fmla="*/ 72221 w 634308"/>
                <a:gd name="connsiteY201" fmla="*/ 640400 h 1430569"/>
                <a:gd name="connsiteX202" fmla="*/ 69072 w 634308"/>
                <a:gd name="connsiteY202" fmla="*/ 649847 h 1430569"/>
                <a:gd name="connsiteX203" fmla="*/ 64573 w 634308"/>
                <a:gd name="connsiteY203" fmla="*/ 663343 h 1430569"/>
                <a:gd name="connsiteX204" fmla="*/ 56026 w 634308"/>
                <a:gd name="connsiteY204" fmla="*/ 683137 h 1430569"/>
                <a:gd name="connsiteX205" fmla="*/ 55576 w 634308"/>
                <a:gd name="connsiteY205" fmla="*/ 686736 h 1430569"/>
                <a:gd name="connsiteX206" fmla="*/ 54226 w 634308"/>
                <a:gd name="connsiteY206" fmla="*/ 700682 h 1430569"/>
                <a:gd name="connsiteX207" fmla="*/ 60974 w 634308"/>
                <a:gd name="connsiteY207" fmla="*/ 768161 h 1430569"/>
                <a:gd name="connsiteX208" fmla="*/ 67272 w 634308"/>
                <a:gd name="connsiteY208" fmla="*/ 789305 h 1430569"/>
                <a:gd name="connsiteX209" fmla="*/ 85717 w 634308"/>
                <a:gd name="connsiteY209" fmla="*/ 855885 h 1430569"/>
                <a:gd name="connsiteX210" fmla="*/ 89316 w 634308"/>
                <a:gd name="connsiteY210" fmla="*/ 892324 h 1430569"/>
                <a:gd name="connsiteX211" fmla="*/ 89316 w 634308"/>
                <a:gd name="connsiteY211" fmla="*/ 937310 h 1430569"/>
                <a:gd name="connsiteX212" fmla="*/ 81218 w 634308"/>
                <a:gd name="connsiteY212" fmla="*/ 956655 h 1430569"/>
                <a:gd name="connsiteX213" fmla="*/ 79868 w 634308"/>
                <a:gd name="connsiteY213" fmla="*/ 1006140 h 1430569"/>
                <a:gd name="connsiteX214" fmla="*/ 66373 w 634308"/>
                <a:gd name="connsiteY214" fmla="*/ 1025484 h 1430569"/>
                <a:gd name="connsiteX215" fmla="*/ 61424 w 634308"/>
                <a:gd name="connsiteY215" fmla="*/ 1052026 h 1430569"/>
                <a:gd name="connsiteX216" fmla="*/ 52877 w 634308"/>
                <a:gd name="connsiteY216" fmla="*/ 1069121 h 1430569"/>
                <a:gd name="connsiteX217" fmla="*/ 45679 w 634308"/>
                <a:gd name="connsiteY217" fmla="*/ 1107359 h 1430569"/>
                <a:gd name="connsiteX218" fmla="*/ 39381 w 634308"/>
                <a:gd name="connsiteY218" fmla="*/ 1150096 h 1430569"/>
                <a:gd name="connsiteX219" fmla="*/ 34882 w 634308"/>
                <a:gd name="connsiteY219" fmla="*/ 1181137 h 1430569"/>
                <a:gd name="connsiteX220" fmla="*/ 16438 w 634308"/>
                <a:gd name="connsiteY220" fmla="*/ 1281907 h 1430569"/>
                <a:gd name="connsiteX221" fmla="*/ 8340 w 634308"/>
                <a:gd name="connsiteY221" fmla="*/ 1348487 h 1430569"/>
                <a:gd name="connsiteX222" fmla="*/ 7890 w 634308"/>
                <a:gd name="connsiteY222" fmla="*/ 1371430 h 1430569"/>
                <a:gd name="connsiteX223" fmla="*/ 7440 w 634308"/>
                <a:gd name="connsiteY223" fmla="*/ 1390774 h 1430569"/>
                <a:gd name="connsiteX224" fmla="*/ 6091 w 634308"/>
                <a:gd name="connsiteY224" fmla="*/ 1397072 h 1430569"/>
                <a:gd name="connsiteX225" fmla="*/ 409619 w 634308"/>
                <a:gd name="connsiteY225" fmla="*/ 459554 h 1430569"/>
                <a:gd name="connsiteX226" fmla="*/ 409619 w 634308"/>
                <a:gd name="connsiteY226" fmla="*/ 459554 h 1430569"/>
                <a:gd name="connsiteX227" fmla="*/ 409619 w 634308"/>
                <a:gd name="connsiteY227" fmla="*/ 459554 h 1430569"/>
                <a:gd name="connsiteX228" fmla="*/ 409619 w 634308"/>
                <a:gd name="connsiteY228" fmla="*/ 459554 h 1430569"/>
                <a:gd name="connsiteX229" fmla="*/ 275110 w 634308"/>
                <a:gd name="connsiteY229" fmla="*/ 122156 h 1430569"/>
                <a:gd name="connsiteX230" fmla="*/ 285457 w 634308"/>
                <a:gd name="connsiteY230" fmla="*/ 124405 h 1430569"/>
                <a:gd name="connsiteX231" fmla="*/ 283657 w 634308"/>
                <a:gd name="connsiteY231" fmla="*/ 126205 h 1430569"/>
                <a:gd name="connsiteX232" fmla="*/ 274210 w 634308"/>
                <a:gd name="connsiteY232" fmla="*/ 133402 h 1430569"/>
                <a:gd name="connsiteX233" fmla="*/ 275110 w 634308"/>
                <a:gd name="connsiteY233" fmla="*/ 122156 h 1430569"/>
                <a:gd name="connsiteX234" fmla="*/ 130253 w 634308"/>
                <a:gd name="connsiteY234" fmla="*/ 1267061 h 1430569"/>
                <a:gd name="connsiteX235" fmla="*/ 136102 w 634308"/>
                <a:gd name="connsiteY235" fmla="*/ 1285955 h 1430569"/>
                <a:gd name="connsiteX236" fmla="*/ 143300 w 634308"/>
                <a:gd name="connsiteY236" fmla="*/ 1312048 h 1430569"/>
                <a:gd name="connsiteX237" fmla="*/ 130253 w 634308"/>
                <a:gd name="connsiteY237" fmla="*/ 1331392 h 1430569"/>
                <a:gd name="connsiteX238" fmla="*/ 130253 w 634308"/>
                <a:gd name="connsiteY238" fmla="*/ 1278758 h 1430569"/>
                <a:gd name="connsiteX239" fmla="*/ 129354 w 634308"/>
                <a:gd name="connsiteY239" fmla="*/ 1264812 h 1430569"/>
                <a:gd name="connsiteX240" fmla="*/ 130253 w 634308"/>
                <a:gd name="connsiteY240" fmla="*/ 1267061 h 1430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</a:cxnLst>
              <a:rect l="l" t="t" r="r" b="b"/>
              <a:pathLst>
                <a:path w="634308" h="1430569">
                  <a:moveTo>
                    <a:pt x="6091" y="1397072"/>
                  </a:moveTo>
                  <a:cubicBezTo>
                    <a:pt x="3391" y="1398422"/>
                    <a:pt x="1592" y="1419115"/>
                    <a:pt x="1592" y="1419115"/>
                  </a:cubicBezTo>
                  <a:cubicBezTo>
                    <a:pt x="45229" y="1431262"/>
                    <a:pt x="83468" y="1426763"/>
                    <a:pt x="84367" y="1425863"/>
                  </a:cubicBezTo>
                  <a:cubicBezTo>
                    <a:pt x="85267" y="1424964"/>
                    <a:pt x="87966" y="1414617"/>
                    <a:pt x="87966" y="1414617"/>
                  </a:cubicBezTo>
                  <a:cubicBezTo>
                    <a:pt x="105511" y="1421365"/>
                    <a:pt x="133852" y="1423164"/>
                    <a:pt x="133852" y="1423164"/>
                  </a:cubicBezTo>
                  <a:cubicBezTo>
                    <a:pt x="133402" y="1425863"/>
                    <a:pt x="133852" y="1426313"/>
                    <a:pt x="133852" y="1426313"/>
                  </a:cubicBezTo>
                  <a:cubicBezTo>
                    <a:pt x="139701" y="1429912"/>
                    <a:pt x="163543" y="1431262"/>
                    <a:pt x="163543" y="1431262"/>
                  </a:cubicBezTo>
                  <a:lnTo>
                    <a:pt x="187836" y="1426763"/>
                  </a:lnTo>
                  <a:cubicBezTo>
                    <a:pt x="190985" y="1429462"/>
                    <a:pt x="195034" y="1429462"/>
                    <a:pt x="202682" y="1429912"/>
                  </a:cubicBezTo>
                  <a:cubicBezTo>
                    <a:pt x="209879" y="1430362"/>
                    <a:pt x="306600" y="1429912"/>
                    <a:pt x="315598" y="1429912"/>
                  </a:cubicBezTo>
                  <a:cubicBezTo>
                    <a:pt x="324595" y="1429912"/>
                    <a:pt x="334942" y="1427213"/>
                    <a:pt x="338541" y="1424964"/>
                  </a:cubicBezTo>
                  <a:cubicBezTo>
                    <a:pt x="342140" y="1422714"/>
                    <a:pt x="342140" y="1421815"/>
                    <a:pt x="342140" y="1421815"/>
                  </a:cubicBezTo>
                  <a:cubicBezTo>
                    <a:pt x="342140" y="1421815"/>
                    <a:pt x="341240" y="1414617"/>
                    <a:pt x="339890" y="1411918"/>
                  </a:cubicBezTo>
                  <a:cubicBezTo>
                    <a:pt x="338541" y="1409218"/>
                    <a:pt x="337641" y="1407419"/>
                    <a:pt x="333592" y="1405619"/>
                  </a:cubicBezTo>
                  <a:cubicBezTo>
                    <a:pt x="333142" y="1403370"/>
                    <a:pt x="331343" y="1400671"/>
                    <a:pt x="328194" y="1398422"/>
                  </a:cubicBezTo>
                  <a:cubicBezTo>
                    <a:pt x="320996" y="1393473"/>
                    <a:pt x="302102" y="1391674"/>
                    <a:pt x="295354" y="1389874"/>
                  </a:cubicBezTo>
                  <a:cubicBezTo>
                    <a:pt x="288606" y="1387625"/>
                    <a:pt x="283207" y="1383126"/>
                    <a:pt x="278259" y="1378178"/>
                  </a:cubicBezTo>
                  <a:cubicBezTo>
                    <a:pt x="272860" y="1373229"/>
                    <a:pt x="268812" y="1371430"/>
                    <a:pt x="263413" y="1364682"/>
                  </a:cubicBezTo>
                  <a:cubicBezTo>
                    <a:pt x="258015" y="1357484"/>
                    <a:pt x="252167" y="1348937"/>
                    <a:pt x="251267" y="1344438"/>
                  </a:cubicBezTo>
                  <a:cubicBezTo>
                    <a:pt x="249917" y="1339489"/>
                    <a:pt x="252167" y="1325994"/>
                    <a:pt x="254416" y="1320145"/>
                  </a:cubicBezTo>
                  <a:cubicBezTo>
                    <a:pt x="256665" y="1314747"/>
                    <a:pt x="257565" y="1309348"/>
                    <a:pt x="254866" y="1305750"/>
                  </a:cubicBezTo>
                  <a:cubicBezTo>
                    <a:pt x="252617" y="1302151"/>
                    <a:pt x="246318" y="1301251"/>
                    <a:pt x="244519" y="1297652"/>
                  </a:cubicBezTo>
                  <a:cubicBezTo>
                    <a:pt x="242270" y="1294053"/>
                    <a:pt x="247668" y="1282806"/>
                    <a:pt x="249917" y="1277858"/>
                  </a:cubicBezTo>
                  <a:cubicBezTo>
                    <a:pt x="252167" y="1272909"/>
                    <a:pt x="247668" y="1267961"/>
                    <a:pt x="244969" y="1261663"/>
                  </a:cubicBezTo>
                  <a:cubicBezTo>
                    <a:pt x="242270" y="1255815"/>
                    <a:pt x="236871" y="1218926"/>
                    <a:pt x="233272" y="1201381"/>
                  </a:cubicBezTo>
                  <a:cubicBezTo>
                    <a:pt x="229674" y="1183836"/>
                    <a:pt x="224725" y="1159993"/>
                    <a:pt x="223375" y="1155495"/>
                  </a:cubicBezTo>
                  <a:cubicBezTo>
                    <a:pt x="222026" y="1150996"/>
                    <a:pt x="228324" y="1145148"/>
                    <a:pt x="230573" y="1133451"/>
                  </a:cubicBezTo>
                  <a:cubicBezTo>
                    <a:pt x="233272" y="1121305"/>
                    <a:pt x="236422" y="1094763"/>
                    <a:pt x="240020" y="1065072"/>
                  </a:cubicBezTo>
                  <a:cubicBezTo>
                    <a:pt x="243170" y="1034931"/>
                    <a:pt x="249018" y="968801"/>
                    <a:pt x="249917" y="950806"/>
                  </a:cubicBezTo>
                  <a:cubicBezTo>
                    <a:pt x="250817" y="933262"/>
                    <a:pt x="256215" y="898172"/>
                    <a:pt x="260264" y="884226"/>
                  </a:cubicBezTo>
                  <a:cubicBezTo>
                    <a:pt x="264313" y="869831"/>
                    <a:pt x="266112" y="861733"/>
                    <a:pt x="265213" y="854535"/>
                  </a:cubicBezTo>
                  <a:cubicBezTo>
                    <a:pt x="264313" y="847338"/>
                    <a:pt x="262064" y="836991"/>
                    <a:pt x="260714" y="821245"/>
                  </a:cubicBezTo>
                  <a:cubicBezTo>
                    <a:pt x="259814" y="805500"/>
                    <a:pt x="263413" y="795603"/>
                    <a:pt x="265213" y="789755"/>
                  </a:cubicBezTo>
                  <a:cubicBezTo>
                    <a:pt x="266562" y="783907"/>
                    <a:pt x="268362" y="775809"/>
                    <a:pt x="268812" y="768161"/>
                  </a:cubicBezTo>
                  <a:cubicBezTo>
                    <a:pt x="269262" y="760514"/>
                    <a:pt x="271511" y="750617"/>
                    <a:pt x="274210" y="740270"/>
                  </a:cubicBezTo>
                  <a:cubicBezTo>
                    <a:pt x="276909" y="729923"/>
                    <a:pt x="277359" y="713728"/>
                    <a:pt x="276010" y="698882"/>
                  </a:cubicBezTo>
                  <a:cubicBezTo>
                    <a:pt x="274660" y="684037"/>
                    <a:pt x="271061" y="659744"/>
                    <a:pt x="271061" y="652096"/>
                  </a:cubicBezTo>
                  <a:cubicBezTo>
                    <a:pt x="271061" y="644449"/>
                    <a:pt x="264763" y="634102"/>
                    <a:pt x="266562" y="634102"/>
                  </a:cubicBezTo>
                  <a:cubicBezTo>
                    <a:pt x="268812" y="634102"/>
                    <a:pt x="278259" y="635901"/>
                    <a:pt x="278259" y="631852"/>
                  </a:cubicBezTo>
                  <a:cubicBezTo>
                    <a:pt x="278259" y="627804"/>
                    <a:pt x="279608" y="620156"/>
                    <a:pt x="281858" y="589115"/>
                  </a:cubicBezTo>
                  <a:cubicBezTo>
                    <a:pt x="284107" y="558974"/>
                    <a:pt x="283207" y="538731"/>
                    <a:pt x="283207" y="536031"/>
                  </a:cubicBezTo>
                  <a:cubicBezTo>
                    <a:pt x="283207" y="532432"/>
                    <a:pt x="280958" y="507240"/>
                    <a:pt x="282758" y="487896"/>
                  </a:cubicBezTo>
                  <a:cubicBezTo>
                    <a:pt x="283657" y="477099"/>
                    <a:pt x="281408" y="464503"/>
                    <a:pt x="279159" y="455955"/>
                  </a:cubicBezTo>
                  <a:cubicBezTo>
                    <a:pt x="290405" y="460004"/>
                    <a:pt x="301202" y="461804"/>
                    <a:pt x="305251" y="462703"/>
                  </a:cubicBezTo>
                  <a:cubicBezTo>
                    <a:pt x="312448" y="464503"/>
                    <a:pt x="318297" y="464503"/>
                    <a:pt x="326844" y="466752"/>
                  </a:cubicBezTo>
                  <a:cubicBezTo>
                    <a:pt x="335392" y="468552"/>
                    <a:pt x="334042" y="466752"/>
                    <a:pt x="336291" y="470801"/>
                  </a:cubicBezTo>
                  <a:cubicBezTo>
                    <a:pt x="338091" y="474850"/>
                    <a:pt x="351587" y="481148"/>
                    <a:pt x="358335" y="484747"/>
                  </a:cubicBezTo>
                  <a:cubicBezTo>
                    <a:pt x="365532" y="488795"/>
                    <a:pt x="374980" y="487896"/>
                    <a:pt x="381728" y="486546"/>
                  </a:cubicBezTo>
                  <a:cubicBezTo>
                    <a:pt x="388476" y="484747"/>
                    <a:pt x="394774" y="475750"/>
                    <a:pt x="398373" y="468552"/>
                  </a:cubicBezTo>
                  <a:cubicBezTo>
                    <a:pt x="401072" y="463153"/>
                    <a:pt x="402871" y="463603"/>
                    <a:pt x="409619" y="459104"/>
                  </a:cubicBezTo>
                  <a:cubicBezTo>
                    <a:pt x="409619" y="459104"/>
                    <a:pt x="410069" y="459104"/>
                    <a:pt x="410519" y="458654"/>
                  </a:cubicBezTo>
                  <a:cubicBezTo>
                    <a:pt x="422216" y="455506"/>
                    <a:pt x="439310" y="450557"/>
                    <a:pt x="451906" y="446058"/>
                  </a:cubicBezTo>
                  <a:cubicBezTo>
                    <a:pt x="459554" y="443359"/>
                    <a:pt x="471701" y="439310"/>
                    <a:pt x="483847" y="435262"/>
                  </a:cubicBezTo>
                  <a:cubicBezTo>
                    <a:pt x="500042" y="429863"/>
                    <a:pt x="513088" y="425814"/>
                    <a:pt x="514438" y="425365"/>
                  </a:cubicBezTo>
                  <a:cubicBezTo>
                    <a:pt x="519386" y="424015"/>
                    <a:pt x="519386" y="423565"/>
                    <a:pt x="523435" y="424465"/>
                  </a:cubicBezTo>
                  <a:cubicBezTo>
                    <a:pt x="523885" y="424465"/>
                    <a:pt x="524335" y="424915"/>
                    <a:pt x="524785" y="424915"/>
                  </a:cubicBezTo>
                  <a:cubicBezTo>
                    <a:pt x="525684" y="425365"/>
                    <a:pt x="526134" y="425814"/>
                    <a:pt x="527034" y="426264"/>
                  </a:cubicBezTo>
                  <a:cubicBezTo>
                    <a:pt x="530183" y="428514"/>
                    <a:pt x="533782" y="431663"/>
                    <a:pt x="538281" y="435262"/>
                  </a:cubicBezTo>
                  <a:cubicBezTo>
                    <a:pt x="549077" y="443359"/>
                    <a:pt x="554926" y="443359"/>
                    <a:pt x="558524" y="443809"/>
                  </a:cubicBezTo>
                  <a:cubicBezTo>
                    <a:pt x="562123" y="444259"/>
                    <a:pt x="570671" y="447408"/>
                    <a:pt x="574719" y="449657"/>
                  </a:cubicBezTo>
                  <a:cubicBezTo>
                    <a:pt x="577419" y="451457"/>
                    <a:pt x="587316" y="457305"/>
                    <a:pt x="594064" y="461804"/>
                  </a:cubicBezTo>
                  <a:cubicBezTo>
                    <a:pt x="594963" y="462703"/>
                    <a:pt x="596313" y="463153"/>
                    <a:pt x="597213" y="463603"/>
                  </a:cubicBezTo>
                  <a:cubicBezTo>
                    <a:pt x="598112" y="464053"/>
                    <a:pt x="599462" y="464953"/>
                    <a:pt x="600362" y="465402"/>
                  </a:cubicBezTo>
                  <a:cubicBezTo>
                    <a:pt x="600812" y="465852"/>
                    <a:pt x="601262" y="465852"/>
                    <a:pt x="601262" y="465852"/>
                  </a:cubicBezTo>
                  <a:cubicBezTo>
                    <a:pt x="604411" y="467202"/>
                    <a:pt x="608909" y="470351"/>
                    <a:pt x="612508" y="468552"/>
                  </a:cubicBezTo>
                  <a:cubicBezTo>
                    <a:pt x="612958" y="468552"/>
                    <a:pt x="613408" y="468102"/>
                    <a:pt x="613408" y="467652"/>
                  </a:cubicBezTo>
                  <a:cubicBezTo>
                    <a:pt x="614308" y="466752"/>
                    <a:pt x="614308" y="465402"/>
                    <a:pt x="613858" y="464053"/>
                  </a:cubicBezTo>
                  <a:cubicBezTo>
                    <a:pt x="612958" y="460904"/>
                    <a:pt x="610709" y="456855"/>
                    <a:pt x="606660" y="453706"/>
                  </a:cubicBezTo>
                  <a:cubicBezTo>
                    <a:pt x="605310" y="452357"/>
                    <a:pt x="603961" y="451906"/>
                    <a:pt x="603061" y="451007"/>
                  </a:cubicBezTo>
                  <a:cubicBezTo>
                    <a:pt x="602161" y="450557"/>
                    <a:pt x="601711" y="450107"/>
                    <a:pt x="601262" y="450107"/>
                  </a:cubicBezTo>
                  <a:cubicBezTo>
                    <a:pt x="599462" y="449207"/>
                    <a:pt x="594064" y="445609"/>
                    <a:pt x="590015" y="441560"/>
                  </a:cubicBezTo>
                  <a:cubicBezTo>
                    <a:pt x="585966" y="437511"/>
                    <a:pt x="587316" y="433912"/>
                    <a:pt x="588665" y="431213"/>
                  </a:cubicBezTo>
                  <a:cubicBezTo>
                    <a:pt x="589565" y="429413"/>
                    <a:pt x="591365" y="428964"/>
                    <a:pt x="593614" y="428964"/>
                  </a:cubicBezTo>
                  <a:cubicBezTo>
                    <a:pt x="594514" y="428964"/>
                    <a:pt x="594963" y="429413"/>
                    <a:pt x="595863" y="429413"/>
                  </a:cubicBezTo>
                  <a:cubicBezTo>
                    <a:pt x="596313" y="429413"/>
                    <a:pt x="596313" y="429863"/>
                    <a:pt x="596763" y="429863"/>
                  </a:cubicBezTo>
                  <a:cubicBezTo>
                    <a:pt x="596763" y="429863"/>
                    <a:pt x="597213" y="429863"/>
                    <a:pt x="597213" y="430313"/>
                  </a:cubicBezTo>
                  <a:cubicBezTo>
                    <a:pt x="599012" y="431663"/>
                    <a:pt x="599912" y="432113"/>
                    <a:pt x="601711" y="433462"/>
                  </a:cubicBezTo>
                  <a:cubicBezTo>
                    <a:pt x="603061" y="434362"/>
                    <a:pt x="603961" y="435262"/>
                    <a:pt x="604860" y="436161"/>
                  </a:cubicBezTo>
                  <a:cubicBezTo>
                    <a:pt x="606660" y="438411"/>
                    <a:pt x="612508" y="446058"/>
                    <a:pt x="614308" y="448758"/>
                  </a:cubicBezTo>
                  <a:cubicBezTo>
                    <a:pt x="616107" y="451457"/>
                    <a:pt x="616557" y="454156"/>
                    <a:pt x="616557" y="456855"/>
                  </a:cubicBezTo>
                  <a:cubicBezTo>
                    <a:pt x="616557" y="459554"/>
                    <a:pt x="616107" y="462703"/>
                    <a:pt x="617457" y="468552"/>
                  </a:cubicBezTo>
                  <a:cubicBezTo>
                    <a:pt x="617457" y="469451"/>
                    <a:pt x="617907" y="470351"/>
                    <a:pt x="618356" y="471701"/>
                  </a:cubicBezTo>
                  <a:cubicBezTo>
                    <a:pt x="619256" y="474850"/>
                    <a:pt x="620606" y="476199"/>
                    <a:pt x="621955" y="476649"/>
                  </a:cubicBezTo>
                  <a:cubicBezTo>
                    <a:pt x="622405" y="477099"/>
                    <a:pt x="623305" y="477099"/>
                    <a:pt x="624205" y="476649"/>
                  </a:cubicBezTo>
                  <a:cubicBezTo>
                    <a:pt x="624205" y="476649"/>
                    <a:pt x="624655" y="476649"/>
                    <a:pt x="624655" y="476199"/>
                  </a:cubicBezTo>
                  <a:cubicBezTo>
                    <a:pt x="625104" y="476199"/>
                    <a:pt x="625554" y="475750"/>
                    <a:pt x="626004" y="475750"/>
                  </a:cubicBezTo>
                  <a:cubicBezTo>
                    <a:pt x="628253" y="474400"/>
                    <a:pt x="627804" y="469002"/>
                    <a:pt x="628253" y="465852"/>
                  </a:cubicBezTo>
                  <a:cubicBezTo>
                    <a:pt x="628703" y="466302"/>
                    <a:pt x="629153" y="466302"/>
                    <a:pt x="629603" y="466302"/>
                  </a:cubicBezTo>
                  <a:cubicBezTo>
                    <a:pt x="631403" y="467652"/>
                    <a:pt x="633202" y="466752"/>
                    <a:pt x="632752" y="464953"/>
                  </a:cubicBezTo>
                  <a:cubicBezTo>
                    <a:pt x="632752" y="464503"/>
                    <a:pt x="632752" y="464053"/>
                    <a:pt x="632752" y="463603"/>
                  </a:cubicBezTo>
                  <a:cubicBezTo>
                    <a:pt x="632752" y="461804"/>
                    <a:pt x="633202" y="459554"/>
                    <a:pt x="633202" y="456855"/>
                  </a:cubicBezTo>
                  <a:cubicBezTo>
                    <a:pt x="633202" y="454156"/>
                    <a:pt x="635001" y="447408"/>
                    <a:pt x="631852" y="441110"/>
                  </a:cubicBezTo>
                  <a:cubicBezTo>
                    <a:pt x="628703" y="435262"/>
                    <a:pt x="619706" y="423115"/>
                    <a:pt x="614758" y="415917"/>
                  </a:cubicBezTo>
                  <a:cubicBezTo>
                    <a:pt x="610709" y="409619"/>
                    <a:pt x="608459" y="407370"/>
                    <a:pt x="606660" y="406021"/>
                  </a:cubicBezTo>
                  <a:cubicBezTo>
                    <a:pt x="606660" y="406021"/>
                    <a:pt x="606660" y="406021"/>
                    <a:pt x="606660" y="406021"/>
                  </a:cubicBezTo>
                  <a:cubicBezTo>
                    <a:pt x="605760" y="405571"/>
                    <a:pt x="605310" y="405121"/>
                    <a:pt x="604411" y="404671"/>
                  </a:cubicBezTo>
                  <a:cubicBezTo>
                    <a:pt x="602611" y="403771"/>
                    <a:pt x="601711" y="403771"/>
                    <a:pt x="600362" y="401972"/>
                  </a:cubicBezTo>
                  <a:cubicBezTo>
                    <a:pt x="600362" y="401972"/>
                    <a:pt x="599912" y="401522"/>
                    <a:pt x="599912" y="401522"/>
                  </a:cubicBezTo>
                  <a:cubicBezTo>
                    <a:pt x="598112" y="399722"/>
                    <a:pt x="595413" y="397473"/>
                    <a:pt x="593164" y="397473"/>
                  </a:cubicBezTo>
                  <a:cubicBezTo>
                    <a:pt x="592714" y="397473"/>
                    <a:pt x="592264" y="397473"/>
                    <a:pt x="591365" y="397473"/>
                  </a:cubicBezTo>
                  <a:cubicBezTo>
                    <a:pt x="587316" y="397023"/>
                    <a:pt x="579218" y="396123"/>
                    <a:pt x="573370" y="395224"/>
                  </a:cubicBezTo>
                  <a:cubicBezTo>
                    <a:pt x="572920" y="395224"/>
                    <a:pt x="572470" y="395224"/>
                    <a:pt x="571571" y="394774"/>
                  </a:cubicBezTo>
                  <a:cubicBezTo>
                    <a:pt x="564373" y="393424"/>
                    <a:pt x="557175" y="392525"/>
                    <a:pt x="552676" y="391625"/>
                  </a:cubicBezTo>
                  <a:cubicBezTo>
                    <a:pt x="551776" y="391625"/>
                    <a:pt x="550877" y="391175"/>
                    <a:pt x="549977" y="391175"/>
                  </a:cubicBezTo>
                  <a:cubicBezTo>
                    <a:pt x="540080" y="389375"/>
                    <a:pt x="530633" y="388026"/>
                    <a:pt x="528383" y="387126"/>
                  </a:cubicBezTo>
                  <a:cubicBezTo>
                    <a:pt x="524335" y="385777"/>
                    <a:pt x="515787" y="385777"/>
                    <a:pt x="507240" y="386226"/>
                  </a:cubicBezTo>
                  <a:cubicBezTo>
                    <a:pt x="499142" y="386676"/>
                    <a:pt x="446958" y="388476"/>
                    <a:pt x="446958" y="389825"/>
                  </a:cubicBezTo>
                  <a:lnTo>
                    <a:pt x="446958" y="389825"/>
                  </a:lnTo>
                  <a:cubicBezTo>
                    <a:pt x="443809" y="388476"/>
                    <a:pt x="421766" y="378129"/>
                    <a:pt x="397923" y="373630"/>
                  </a:cubicBezTo>
                  <a:cubicBezTo>
                    <a:pt x="379478" y="370031"/>
                    <a:pt x="378129" y="377229"/>
                    <a:pt x="375880" y="379029"/>
                  </a:cubicBezTo>
                  <a:cubicBezTo>
                    <a:pt x="374080" y="380828"/>
                    <a:pt x="373180" y="379478"/>
                    <a:pt x="365083" y="376329"/>
                  </a:cubicBezTo>
                  <a:cubicBezTo>
                    <a:pt x="356535" y="373180"/>
                    <a:pt x="352487" y="373180"/>
                    <a:pt x="343489" y="371381"/>
                  </a:cubicBezTo>
                  <a:cubicBezTo>
                    <a:pt x="336741" y="370031"/>
                    <a:pt x="324145" y="368682"/>
                    <a:pt x="317397" y="365083"/>
                  </a:cubicBezTo>
                  <a:cubicBezTo>
                    <a:pt x="315148" y="363283"/>
                    <a:pt x="313348" y="361484"/>
                    <a:pt x="313348" y="361484"/>
                  </a:cubicBezTo>
                  <a:cubicBezTo>
                    <a:pt x="308850" y="355186"/>
                    <a:pt x="307050" y="351137"/>
                    <a:pt x="301652" y="350687"/>
                  </a:cubicBezTo>
                  <a:cubicBezTo>
                    <a:pt x="300752" y="350687"/>
                    <a:pt x="299403" y="350687"/>
                    <a:pt x="298503" y="350687"/>
                  </a:cubicBezTo>
                  <a:cubicBezTo>
                    <a:pt x="292205" y="350237"/>
                    <a:pt x="288156" y="345289"/>
                    <a:pt x="282308" y="334942"/>
                  </a:cubicBezTo>
                  <a:cubicBezTo>
                    <a:pt x="275560" y="324145"/>
                    <a:pt x="252617" y="312899"/>
                    <a:pt x="238221" y="298503"/>
                  </a:cubicBezTo>
                  <a:cubicBezTo>
                    <a:pt x="232373" y="292655"/>
                    <a:pt x="228324" y="288156"/>
                    <a:pt x="225625" y="284557"/>
                  </a:cubicBezTo>
                  <a:cubicBezTo>
                    <a:pt x="226074" y="282308"/>
                    <a:pt x="224725" y="279159"/>
                    <a:pt x="223375" y="276459"/>
                  </a:cubicBezTo>
                  <a:cubicBezTo>
                    <a:pt x="222026" y="273760"/>
                    <a:pt x="218427" y="270611"/>
                    <a:pt x="217977" y="267912"/>
                  </a:cubicBezTo>
                  <a:cubicBezTo>
                    <a:pt x="217077" y="265213"/>
                    <a:pt x="215278" y="262514"/>
                    <a:pt x="213478" y="258465"/>
                  </a:cubicBezTo>
                  <a:cubicBezTo>
                    <a:pt x="211679" y="254866"/>
                    <a:pt x="209430" y="250367"/>
                    <a:pt x="207180" y="246319"/>
                  </a:cubicBezTo>
                  <a:cubicBezTo>
                    <a:pt x="205831" y="244069"/>
                    <a:pt x="204931" y="242270"/>
                    <a:pt x="204481" y="241820"/>
                  </a:cubicBezTo>
                  <a:cubicBezTo>
                    <a:pt x="204931" y="236422"/>
                    <a:pt x="205831" y="230573"/>
                    <a:pt x="207630" y="227424"/>
                  </a:cubicBezTo>
                  <a:cubicBezTo>
                    <a:pt x="207630" y="227424"/>
                    <a:pt x="205381" y="222476"/>
                    <a:pt x="199982" y="215728"/>
                  </a:cubicBezTo>
                  <a:cubicBezTo>
                    <a:pt x="199982" y="215278"/>
                    <a:pt x="200432" y="214828"/>
                    <a:pt x="200432" y="214828"/>
                  </a:cubicBezTo>
                  <a:cubicBezTo>
                    <a:pt x="201332" y="212129"/>
                    <a:pt x="205831" y="209430"/>
                    <a:pt x="207630" y="209430"/>
                  </a:cubicBezTo>
                  <a:cubicBezTo>
                    <a:pt x="209879" y="209430"/>
                    <a:pt x="210779" y="211679"/>
                    <a:pt x="214378" y="214378"/>
                  </a:cubicBezTo>
                  <a:cubicBezTo>
                    <a:pt x="217977" y="217077"/>
                    <a:pt x="231923" y="219327"/>
                    <a:pt x="240470" y="216627"/>
                  </a:cubicBezTo>
                  <a:cubicBezTo>
                    <a:pt x="249018" y="214378"/>
                    <a:pt x="247218" y="204481"/>
                    <a:pt x="246768" y="203131"/>
                  </a:cubicBezTo>
                  <a:cubicBezTo>
                    <a:pt x="246318" y="201782"/>
                    <a:pt x="245419" y="199982"/>
                    <a:pt x="246768" y="197733"/>
                  </a:cubicBezTo>
                  <a:cubicBezTo>
                    <a:pt x="248118" y="195484"/>
                    <a:pt x="253966" y="192335"/>
                    <a:pt x="255316" y="191435"/>
                  </a:cubicBezTo>
                  <a:cubicBezTo>
                    <a:pt x="256665" y="190985"/>
                    <a:pt x="253516" y="183338"/>
                    <a:pt x="253516" y="181538"/>
                  </a:cubicBezTo>
                  <a:cubicBezTo>
                    <a:pt x="253516" y="179738"/>
                    <a:pt x="257565" y="181088"/>
                    <a:pt x="258465" y="181538"/>
                  </a:cubicBezTo>
                  <a:cubicBezTo>
                    <a:pt x="259365" y="181988"/>
                    <a:pt x="261164" y="181988"/>
                    <a:pt x="262963" y="179738"/>
                  </a:cubicBezTo>
                  <a:cubicBezTo>
                    <a:pt x="264313" y="177489"/>
                    <a:pt x="265213" y="170291"/>
                    <a:pt x="265213" y="168492"/>
                  </a:cubicBezTo>
                  <a:cubicBezTo>
                    <a:pt x="265213" y="166693"/>
                    <a:pt x="267012" y="165793"/>
                    <a:pt x="268812" y="166243"/>
                  </a:cubicBezTo>
                  <a:cubicBezTo>
                    <a:pt x="271061" y="166693"/>
                    <a:pt x="276010" y="168042"/>
                    <a:pt x="280508" y="167592"/>
                  </a:cubicBezTo>
                  <a:cubicBezTo>
                    <a:pt x="285457" y="167142"/>
                    <a:pt x="285457" y="160394"/>
                    <a:pt x="285007" y="158145"/>
                  </a:cubicBezTo>
                  <a:cubicBezTo>
                    <a:pt x="284557" y="155896"/>
                    <a:pt x="280508" y="148248"/>
                    <a:pt x="278259" y="141500"/>
                  </a:cubicBezTo>
                  <a:cubicBezTo>
                    <a:pt x="281408" y="139251"/>
                    <a:pt x="287706" y="129354"/>
                    <a:pt x="288606" y="128004"/>
                  </a:cubicBezTo>
                  <a:cubicBezTo>
                    <a:pt x="289506" y="126205"/>
                    <a:pt x="291305" y="123505"/>
                    <a:pt x="289955" y="121706"/>
                  </a:cubicBezTo>
                  <a:cubicBezTo>
                    <a:pt x="288606" y="119907"/>
                    <a:pt x="281408" y="116757"/>
                    <a:pt x="281408" y="116757"/>
                  </a:cubicBezTo>
                  <a:cubicBezTo>
                    <a:pt x="283657" y="114958"/>
                    <a:pt x="284107" y="98313"/>
                    <a:pt x="283657" y="88866"/>
                  </a:cubicBezTo>
                  <a:cubicBezTo>
                    <a:pt x="283657" y="79419"/>
                    <a:pt x="285007" y="75370"/>
                    <a:pt x="285907" y="73571"/>
                  </a:cubicBezTo>
                  <a:cubicBezTo>
                    <a:pt x="286806" y="71321"/>
                    <a:pt x="287706" y="72221"/>
                    <a:pt x="294454" y="70421"/>
                  </a:cubicBezTo>
                  <a:cubicBezTo>
                    <a:pt x="301652" y="68622"/>
                    <a:pt x="303451" y="62324"/>
                    <a:pt x="303451" y="61424"/>
                  </a:cubicBezTo>
                  <a:cubicBezTo>
                    <a:pt x="301202" y="62774"/>
                    <a:pt x="299852" y="63673"/>
                    <a:pt x="298953" y="64123"/>
                  </a:cubicBezTo>
                  <a:cubicBezTo>
                    <a:pt x="298503" y="64573"/>
                    <a:pt x="298053" y="65023"/>
                    <a:pt x="297153" y="65023"/>
                  </a:cubicBezTo>
                  <a:cubicBezTo>
                    <a:pt x="297153" y="65023"/>
                    <a:pt x="297603" y="64573"/>
                    <a:pt x="298953" y="64123"/>
                  </a:cubicBezTo>
                  <a:cubicBezTo>
                    <a:pt x="306151" y="59175"/>
                    <a:pt x="304801" y="55126"/>
                    <a:pt x="304801" y="55126"/>
                  </a:cubicBezTo>
                  <a:cubicBezTo>
                    <a:pt x="299852" y="60075"/>
                    <a:pt x="293104" y="54676"/>
                    <a:pt x="293104" y="54676"/>
                  </a:cubicBezTo>
                  <a:cubicBezTo>
                    <a:pt x="294904" y="54676"/>
                    <a:pt x="296703" y="52877"/>
                    <a:pt x="296703" y="52877"/>
                  </a:cubicBezTo>
                  <a:cubicBezTo>
                    <a:pt x="294904" y="53327"/>
                    <a:pt x="294004" y="53327"/>
                    <a:pt x="293104" y="49728"/>
                  </a:cubicBezTo>
                  <a:cubicBezTo>
                    <a:pt x="292205" y="46129"/>
                    <a:pt x="292655" y="42980"/>
                    <a:pt x="288606" y="38481"/>
                  </a:cubicBezTo>
                  <a:cubicBezTo>
                    <a:pt x="284557" y="33982"/>
                    <a:pt x="282758" y="33083"/>
                    <a:pt x="280508" y="31283"/>
                  </a:cubicBezTo>
                  <a:cubicBezTo>
                    <a:pt x="278259" y="29484"/>
                    <a:pt x="278259" y="26784"/>
                    <a:pt x="275110" y="23186"/>
                  </a:cubicBezTo>
                  <a:cubicBezTo>
                    <a:pt x="271511" y="19587"/>
                    <a:pt x="267462" y="21386"/>
                    <a:pt x="260264" y="18687"/>
                  </a:cubicBezTo>
                  <a:cubicBezTo>
                    <a:pt x="253066" y="15988"/>
                    <a:pt x="228774" y="8790"/>
                    <a:pt x="225625" y="7440"/>
                  </a:cubicBezTo>
                  <a:cubicBezTo>
                    <a:pt x="222926" y="6541"/>
                    <a:pt x="213029" y="5641"/>
                    <a:pt x="214378" y="5641"/>
                  </a:cubicBezTo>
                  <a:cubicBezTo>
                    <a:pt x="216178" y="5641"/>
                    <a:pt x="217077" y="3392"/>
                    <a:pt x="217077" y="3392"/>
                  </a:cubicBezTo>
                  <a:cubicBezTo>
                    <a:pt x="217077" y="3392"/>
                    <a:pt x="215278" y="4291"/>
                    <a:pt x="210779" y="3392"/>
                  </a:cubicBezTo>
                  <a:cubicBezTo>
                    <a:pt x="206281" y="2492"/>
                    <a:pt x="200432" y="1592"/>
                    <a:pt x="195934" y="1592"/>
                  </a:cubicBezTo>
                  <a:cubicBezTo>
                    <a:pt x="191435" y="1592"/>
                    <a:pt x="188286" y="2942"/>
                    <a:pt x="183787" y="3842"/>
                  </a:cubicBezTo>
                  <a:cubicBezTo>
                    <a:pt x="179738" y="4741"/>
                    <a:pt x="176140" y="5191"/>
                    <a:pt x="174340" y="4741"/>
                  </a:cubicBezTo>
                  <a:cubicBezTo>
                    <a:pt x="171641" y="3842"/>
                    <a:pt x="169841" y="4741"/>
                    <a:pt x="169841" y="4741"/>
                  </a:cubicBezTo>
                  <a:cubicBezTo>
                    <a:pt x="165793" y="4741"/>
                    <a:pt x="162194" y="8340"/>
                    <a:pt x="155446" y="13289"/>
                  </a:cubicBezTo>
                  <a:cubicBezTo>
                    <a:pt x="149148" y="18237"/>
                    <a:pt x="149597" y="20936"/>
                    <a:pt x="144199" y="24535"/>
                  </a:cubicBezTo>
                  <a:cubicBezTo>
                    <a:pt x="138801" y="28134"/>
                    <a:pt x="134752" y="31733"/>
                    <a:pt x="128904" y="40730"/>
                  </a:cubicBezTo>
                  <a:cubicBezTo>
                    <a:pt x="123056" y="49278"/>
                    <a:pt x="115408" y="63224"/>
                    <a:pt x="109560" y="74470"/>
                  </a:cubicBezTo>
                  <a:cubicBezTo>
                    <a:pt x="104161" y="85717"/>
                    <a:pt x="108660" y="97413"/>
                    <a:pt x="110909" y="105961"/>
                  </a:cubicBezTo>
                  <a:cubicBezTo>
                    <a:pt x="113159" y="114508"/>
                    <a:pt x="117207" y="147348"/>
                    <a:pt x="117207" y="153646"/>
                  </a:cubicBezTo>
                  <a:cubicBezTo>
                    <a:pt x="117207" y="158595"/>
                    <a:pt x="114508" y="167142"/>
                    <a:pt x="113159" y="170291"/>
                  </a:cubicBezTo>
                  <a:cubicBezTo>
                    <a:pt x="104161" y="168492"/>
                    <a:pt x="92465" y="167592"/>
                    <a:pt x="91115" y="173890"/>
                  </a:cubicBezTo>
                  <a:cubicBezTo>
                    <a:pt x="88866" y="183338"/>
                    <a:pt x="88416" y="202682"/>
                    <a:pt x="87516" y="207180"/>
                  </a:cubicBezTo>
                  <a:cubicBezTo>
                    <a:pt x="81668" y="212579"/>
                    <a:pt x="68622" y="226075"/>
                    <a:pt x="62324" y="232823"/>
                  </a:cubicBezTo>
                  <a:cubicBezTo>
                    <a:pt x="56026" y="239571"/>
                    <a:pt x="51977" y="247668"/>
                    <a:pt x="45679" y="255766"/>
                  </a:cubicBezTo>
                  <a:cubicBezTo>
                    <a:pt x="39381" y="263863"/>
                    <a:pt x="33532" y="271961"/>
                    <a:pt x="26335" y="282758"/>
                  </a:cubicBezTo>
                  <a:cubicBezTo>
                    <a:pt x="19137" y="294004"/>
                    <a:pt x="15088" y="314248"/>
                    <a:pt x="12839" y="324145"/>
                  </a:cubicBezTo>
                  <a:cubicBezTo>
                    <a:pt x="10139" y="334042"/>
                    <a:pt x="10139" y="344389"/>
                    <a:pt x="9240" y="355636"/>
                  </a:cubicBezTo>
                  <a:cubicBezTo>
                    <a:pt x="7890" y="366882"/>
                    <a:pt x="22736" y="421766"/>
                    <a:pt x="27684" y="437061"/>
                  </a:cubicBezTo>
                  <a:cubicBezTo>
                    <a:pt x="33083" y="452357"/>
                    <a:pt x="44329" y="491495"/>
                    <a:pt x="50627" y="507240"/>
                  </a:cubicBezTo>
                  <a:cubicBezTo>
                    <a:pt x="55126" y="519386"/>
                    <a:pt x="65923" y="531533"/>
                    <a:pt x="73120" y="538281"/>
                  </a:cubicBezTo>
                  <a:cubicBezTo>
                    <a:pt x="79419" y="545928"/>
                    <a:pt x="86167" y="552676"/>
                    <a:pt x="87066" y="558075"/>
                  </a:cubicBezTo>
                  <a:cubicBezTo>
                    <a:pt x="87966" y="562573"/>
                    <a:pt x="87966" y="565722"/>
                    <a:pt x="87516" y="568422"/>
                  </a:cubicBezTo>
                  <a:cubicBezTo>
                    <a:pt x="85717" y="572470"/>
                    <a:pt x="84817" y="581018"/>
                    <a:pt x="85717" y="584167"/>
                  </a:cubicBezTo>
                  <a:cubicBezTo>
                    <a:pt x="87066" y="587316"/>
                    <a:pt x="85267" y="591365"/>
                    <a:pt x="82118" y="594064"/>
                  </a:cubicBezTo>
                  <a:cubicBezTo>
                    <a:pt x="81668" y="594514"/>
                    <a:pt x="81218" y="595413"/>
                    <a:pt x="80768" y="595863"/>
                  </a:cubicBezTo>
                  <a:cubicBezTo>
                    <a:pt x="80318" y="596763"/>
                    <a:pt x="79868" y="597663"/>
                    <a:pt x="79419" y="598563"/>
                  </a:cubicBezTo>
                  <a:cubicBezTo>
                    <a:pt x="77619" y="602161"/>
                    <a:pt x="76270" y="606660"/>
                    <a:pt x="74920" y="608909"/>
                  </a:cubicBezTo>
                  <a:cubicBezTo>
                    <a:pt x="74470" y="609809"/>
                    <a:pt x="73571" y="610259"/>
                    <a:pt x="72671" y="611159"/>
                  </a:cubicBezTo>
                  <a:cubicBezTo>
                    <a:pt x="71321" y="612058"/>
                    <a:pt x="69972" y="613408"/>
                    <a:pt x="69072" y="615208"/>
                  </a:cubicBezTo>
                  <a:cubicBezTo>
                    <a:pt x="69972" y="614308"/>
                    <a:pt x="71321" y="612958"/>
                    <a:pt x="72671" y="611608"/>
                  </a:cubicBezTo>
                  <a:cubicBezTo>
                    <a:pt x="71771" y="612508"/>
                    <a:pt x="70421" y="613858"/>
                    <a:pt x="69072" y="615208"/>
                  </a:cubicBezTo>
                  <a:cubicBezTo>
                    <a:pt x="69072" y="615208"/>
                    <a:pt x="69072" y="615208"/>
                    <a:pt x="69072" y="615208"/>
                  </a:cubicBezTo>
                  <a:cubicBezTo>
                    <a:pt x="69072" y="615208"/>
                    <a:pt x="69072" y="615208"/>
                    <a:pt x="68622" y="615657"/>
                  </a:cubicBezTo>
                  <a:cubicBezTo>
                    <a:pt x="65923" y="618356"/>
                    <a:pt x="63673" y="621056"/>
                    <a:pt x="61874" y="624205"/>
                  </a:cubicBezTo>
                  <a:cubicBezTo>
                    <a:pt x="60974" y="626004"/>
                    <a:pt x="60524" y="627804"/>
                    <a:pt x="60524" y="629153"/>
                  </a:cubicBezTo>
                  <a:cubicBezTo>
                    <a:pt x="58275" y="639500"/>
                    <a:pt x="65923" y="643099"/>
                    <a:pt x="70871" y="640850"/>
                  </a:cubicBezTo>
                  <a:cubicBezTo>
                    <a:pt x="71321" y="640850"/>
                    <a:pt x="71771" y="640400"/>
                    <a:pt x="72221" y="640400"/>
                  </a:cubicBezTo>
                  <a:cubicBezTo>
                    <a:pt x="72221" y="640400"/>
                    <a:pt x="72221" y="640400"/>
                    <a:pt x="72221" y="640400"/>
                  </a:cubicBezTo>
                  <a:cubicBezTo>
                    <a:pt x="72221" y="640400"/>
                    <a:pt x="70871" y="644899"/>
                    <a:pt x="69072" y="649847"/>
                  </a:cubicBezTo>
                  <a:cubicBezTo>
                    <a:pt x="68172" y="652546"/>
                    <a:pt x="66373" y="657945"/>
                    <a:pt x="64573" y="663343"/>
                  </a:cubicBezTo>
                  <a:cubicBezTo>
                    <a:pt x="61424" y="670091"/>
                    <a:pt x="56925" y="676839"/>
                    <a:pt x="56026" y="683137"/>
                  </a:cubicBezTo>
                  <a:cubicBezTo>
                    <a:pt x="56026" y="684037"/>
                    <a:pt x="55576" y="685386"/>
                    <a:pt x="55576" y="686736"/>
                  </a:cubicBezTo>
                  <a:cubicBezTo>
                    <a:pt x="54676" y="691234"/>
                    <a:pt x="54226" y="696183"/>
                    <a:pt x="54226" y="700682"/>
                  </a:cubicBezTo>
                  <a:cubicBezTo>
                    <a:pt x="54226" y="710129"/>
                    <a:pt x="59625" y="759164"/>
                    <a:pt x="60974" y="768161"/>
                  </a:cubicBezTo>
                  <a:cubicBezTo>
                    <a:pt x="62324" y="776709"/>
                    <a:pt x="64573" y="783907"/>
                    <a:pt x="67272" y="789305"/>
                  </a:cubicBezTo>
                  <a:cubicBezTo>
                    <a:pt x="69522" y="794703"/>
                    <a:pt x="82118" y="839690"/>
                    <a:pt x="85717" y="855885"/>
                  </a:cubicBezTo>
                  <a:cubicBezTo>
                    <a:pt x="89316" y="872080"/>
                    <a:pt x="90216" y="881077"/>
                    <a:pt x="89316" y="892324"/>
                  </a:cubicBezTo>
                  <a:cubicBezTo>
                    <a:pt x="88416" y="903571"/>
                    <a:pt x="88416" y="931912"/>
                    <a:pt x="89316" y="937310"/>
                  </a:cubicBezTo>
                  <a:cubicBezTo>
                    <a:pt x="90216" y="942709"/>
                    <a:pt x="85717" y="946757"/>
                    <a:pt x="81218" y="956655"/>
                  </a:cubicBezTo>
                  <a:cubicBezTo>
                    <a:pt x="76720" y="966552"/>
                    <a:pt x="78969" y="997142"/>
                    <a:pt x="79868" y="1006140"/>
                  </a:cubicBezTo>
                  <a:cubicBezTo>
                    <a:pt x="80768" y="1015137"/>
                    <a:pt x="69522" y="1020985"/>
                    <a:pt x="66373" y="1025484"/>
                  </a:cubicBezTo>
                  <a:cubicBezTo>
                    <a:pt x="63224" y="1029982"/>
                    <a:pt x="61874" y="1047078"/>
                    <a:pt x="61424" y="1052026"/>
                  </a:cubicBezTo>
                  <a:cubicBezTo>
                    <a:pt x="60974" y="1056974"/>
                    <a:pt x="54226" y="1059674"/>
                    <a:pt x="52877" y="1069121"/>
                  </a:cubicBezTo>
                  <a:cubicBezTo>
                    <a:pt x="51527" y="1078568"/>
                    <a:pt x="48828" y="1096563"/>
                    <a:pt x="45679" y="1107359"/>
                  </a:cubicBezTo>
                  <a:cubicBezTo>
                    <a:pt x="42080" y="1118156"/>
                    <a:pt x="42530" y="1140199"/>
                    <a:pt x="39381" y="1150096"/>
                  </a:cubicBezTo>
                  <a:cubicBezTo>
                    <a:pt x="36232" y="1159544"/>
                    <a:pt x="37131" y="1171690"/>
                    <a:pt x="34882" y="1181137"/>
                  </a:cubicBezTo>
                  <a:cubicBezTo>
                    <a:pt x="32633" y="1190584"/>
                    <a:pt x="20037" y="1265262"/>
                    <a:pt x="16438" y="1281907"/>
                  </a:cubicBezTo>
                  <a:cubicBezTo>
                    <a:pt x="12839" y="1298102"/>
                    <a:pt x="9240" y="1340839"/>
                    <a:pt x="8340" y="1348487"/>
                  </a:cubicBezTo>
                  <a:cubicBezTo>
                    <a:pt x="7890" y="1356134"/>
                    <a:pt x="6091" y="1364682"/>
                    <a:pt x="7890" y="1371430"/>
                  </a:cubicBezTo>
                  <a:cubicBezTo>
                    <a:pt x="9690" y="1377728"/>
                    <a:pt x="6541" y="1385825"/>
                    <a:pt x="7440" y="1390774"/>
                  </a:cubicBezTo>
                  <a:cubicBezTo>
                    <a:pt x="6991" y="1394823"/>
                    <a:pt x="8790" y="1395273"/>
                    <a:pt x="6091" y="1397072"/>
                  </a:cubicBezTo>
                  <a:close/>
                  <a:moveTo>
                    <a:pt x="409619" y="459554"/>
                  </a:moveTo>
                  <a:lnTo>
                    <a:pt x="409619" y="459554"/>
                  </a:lnTo>
                  <a:lnTo>
                    <a:pt x="409619" y="459554"/>
                  </a:lnTo>
                  <a:cubicBezTo>
                    <a:pt x="409619" y="459554"/>
                    <a:pt x="409619" y="459554"/>
                    <a:pt x="409619" y="459554"/>
                  </a:cubicBezTo>
                  <a:close/>
                  <a:moveTo>
                    <a:pt x="275110" y="122156"/>
                  </a:moveTo>
                  <a:cubicBezTo>
                    <a:pt x="280058" y="122606"/>
                    <a:pt x="285457" y="124405"/>
                    <a:pt x="285457" y="124405"/>
                  </a:cubicBezTo>
                  <a:cubicBezTo>
                    <a:pt x="285457" y="124405"/>
                    <a:pt x="285457" y="125305"/>
                    <a:pt x="283657" y="126205"/>
                  </a:cubicBezTo>
                  <a:cubicBezTo>
                    <a:pt x="281858" y="127105"/>
                    <a:pt x="276459" y="130703"/>
                    <a:pt x="274210" y="133402"/>
                  </a:cubicBezTo>
                  <a:cubicBezTo>
                    <a:pt x="274210" y="133852"/>
                    <a:pt x="271061" y="123505"/>
                    <a:pt x="275110" y="122156"/>
                  </a:cubicBezTo>
                  <a:close/>
                  <a:moveTo>
                    <a:pt x="130253" y="1267061"/>
                  </a:moveTo>
                  <a:cubicBezTo>
                    <a:pt x="131153" y="1272460"/>
                    <a:pt x="133402" y="1281457"/>
                    <a:pt x="136102" y="1285955"/>
                  </a:cubicBezTo>
                  <a:cubicBezTo>
                    <a:pt x="140150" y="1292703"/>
                    <a:pt x="143749" y="1305300"/>
                    <a:pt x="143300" y="1312048"/>
                  </a:cubicBezTo>
                  <a:cubicBezTo>
                    <a:pt x="142850" y="1318346"/>
                    <a:pt x="130253" y="1331392"/>
                    <a:pt x="130253" y="1331392"/>
                  </a:cubicBezTo>
                  <a:cubicBezTo>
                    <a:pt x="130253" y="1331392"/>
                    <a:pt x="130703" y="1290904"/>
                    <a:pt x="130253" y="1278758"/>
                  </a:cubicBezTo>
                  <a:cubicBezTo>
                    <a:pt x="129804" y="1271560"/>
                    <a:pt x="129804" y="1267511"/>
                    <a:pt x="129354" y="1264812"/>
                  </a:cubicBezTo>
                  <a:cubicBezTo>
                    <a:pt x="129804" y="1265712"/>
                    <a:pt x="130253" y="1266611"/>
                    <a:pt x="130253" y="1267061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99FB1F7F-AE1D-49F5-B390-4613C1A4A01E}"/>
                </a:ext>
              </a:extLst>
            </p:cNvPr>
            <p:cNvSpPr/>
            <p:nvPr/>
          </p:nvSpPr>
          <p:spPr>
            <a:xfrm>
              <a:off x="9506383" y="4312347"/>
              <a:ext cx="677950" cy="1928116"/>
            </a:xfrm>
            <a:custGeom>
              <a:avLst/>
              <a:gdLst>
                <a:gd name="connsiteX0" fmla="*/ 201650 w 490352"/>
                <a:gd name="connsiteY0" fmla="*/ 82516 h 1394580"/>
                <a:gd name="connsiteX1" fmla="*/ 198951 w 490352"/>
                <a:gd name="connsiteY1" fmla="*/ 69470 h 1394580"/>
                <a:gd name="connsiteX2" fmla="*/ 185005 w 490352"/>
                <a:gd name="connsiteY2" fmla="*/ 42028 h 1394580"/>
                <a:gd name="connsiteX3" fmla="*/ 159813 w 490352"/>
                <a:gd name="connsiteY3" fmla="*/ 19085 h 1394580"/>
                <a:gd name="connsiteX4" fmla="*/ 138669 w 490352"/>
                <a:gd name="connsiteY4" fmla="*/ 13687 h 1394580"/>
                <a:gd name="connsiteX5" fmla="*/ 126973 w 490352"/>
                <a:gd name="connsiteY5" fmla="*/ 6489 h 1394580"/>
                <a:gd name="connsiteX6" fmla="*/ 81986 w 490352"/>
                <a:gd name="connsiteY6" fmla="*/ 6039 h 1394580"/>
                <a:gd name="connsiteX7" fmla="*/ 33851 w 490352"/>
                <a:gd name="connsiteY7" fmla="*/ 33031 h 1394580"/>
                <a:gd name="connsiteX8" fmla="*/ 8658 w 490352"/>
                <a:gd name="connsiteY8" fmla="*/ 73519 h 1394580"/>
                <a:gd name="connsiteX9" fmla="*/ 10458 w 490352"/>
                <a:gd name="connsiteY9" fmla="*/ 127053 h 1394580"/>
                <a:gd name="connsiteX10" fmla="*/ 20355 w 490352"/>
                <a:gd name="connsiteY10" fmla="*/ 133351 h 1394580"/>
                <a:gd name="connsiteX11" fmla="*/ 29352 w 490352"/>
                <a:gd name="connsiteY11" fmla="*/ 140998 h 1394580"/>
                <a:gd name="connsiteX12" fmla="*/ 39249 w 490352"/>
                <a:gd name="connsiteY12" fmla="*/ 149546 h 1394580"/>
                <a:gd name="connsiteX13" fmla="*/ 36100 w 490352"/>
                <a:gd name="connsiteY13" fmla="*/ 176088 h 1394580"/>
                <a:gd name="connsiteX14" fmla="*/ 46897 w 490352"/>
                <a:gd name="connsiteY14" fmla="*/ 185085 h 1394580"/>
                <a:gd name="connsiteX15" fmla="*/ 49146 w 490352"/>
                <a:gd name="connsiteY15" fmla="*/ 195882 h 1394580"/>
                <a:gd name="connsiteX16" fmla="*/ 54545 w 490352"/>
                <a:gd name="connsiteY16" fmla="*/ 199931 h 1394580"/>
                <a:gd name="connsiteX17" fmla="*/ 56344 w 490352"/>
                <a:gd name="connsiteY17" fmla="*/ 206229 h 1394580"/>
                <a:gd name="connsiteX18" fmla="*/ 54545 w 490352"/>
                <a:gd name="connsiteY18" fmla="*/ 224223 h 1394580"/>
                <a:gd name="connsiteX19" fmla="*/ 51845 w 490352"/>
                <a:gd name="connsiteY19" fmla="*/ 238169 h 1394580"/>
                <a:gd name="connsiteX20" fmla="*/ 50496 w 490352"/>
                <a:gd name="connsiteY20" fmla="*/ 253465 h 1394580"/>
                <a:gd name="connsiteX21" fmla="*/ 56794 w 490352"/>
                <a:gd name="connsiteY21" fmla="*/ 276858 h 1394580"/>
                <a:gd name="connsiteX22" fmla="*/ 42398 w 490352"/>
                <a:gd name="connsiteY22" fmla="*/ 291253 h 1394580"/>
                <a:gd name="connsiteX23" fmla="*/ 32501 w 490352"/>
                <a:gd name="connsiteY23" fmla="*/ 340288 h 1394580"/>
                <a:gd name="connsiteX24" fmla="*/ 35650 w 490352"/>
                <a:gd name="connsiteY24" fmla="*/ 377177 h 1394580"/>
                <a:gd name="connsiteX25" fmla="*/ 23504 w 490352"/>
                <a:gd name="connsiteY25" fmla="*/ 408668 h 1394580"/>
                <a:gd name="connsiteX26" fmla="*/ 22154 w 490352"/>
                <a:gd name="connsiteY26" fmla="*/ 432061 h 1394580"/>
                <a:gd name="connsiteX27" fmla="*/ 10908 w 490352"/>
                <a:gd name="connsiteY27" fmla="*/ 465801 h 1394580"/>
                <a:gd name="connsiteX28" fmla="*/ 32951 w 490352"/>
                <a:gd name="connsiteY28" fmla="*/ 513036 h 1394580"/>
                <a:gd name="connsiteX29" fmla="*/ 75238 w 490352"/>
                <a:gd name="connsiteY29" fmla="*/ 520684 h 1394580"/>
                <a:gd name="connsiteX30" fmla="*/ 82436 w 490352"/>
                <a:gd name="connsiteY30" fmla="*/ 530131 h 1394580"/>
                <a:gd name="connsiteX31" fmla="*/ 84685 w 490352"/>
                <a:gd name="connsiteY31" fmla="*/ 544977 h 1394580"/>
                <a:gd name="connsiteX32" fmla="*/ 83336 w 490352"/>
                <a:gd name="connsiteY32" fmla="*/ 556223 h 1394580"/>
                <a:gd name="connsiteX33" fmla="*/ 95033 w 490352"/>
                <a:gd name="connsiteY33" fmla="*/ 581416 h 1394580"/>
                <a:gd name="connsiteX34" fmla="*/ 92333 w 490352"/>
                <a:gd name="connsiteY34" fmla="*/ 589963 h 1394580"/>
                <a:gd name="connsiteX35" fmla="*/ 67141 w 490352"/>
                <a:gd name="connsiteY35" fmla="*/ 721774 h 1394580"/>
                <a:gd name="connsiteX36" fmla="*/ 72539 w 490352"/>
                <a:gd name="connsiteY36" fmla="*/ 722673 h 1394580"/>
                <a:gd name="connsiteX37" fmla="*/ 68041 w 490352"/>
                <a:gd name="connsiteY37" fmla="*/ 723123 h 1394580"/>
                <a:gd name="connsiteX38" fmla="*/ 72989 w 490352"/>
                <a:gd name="connsiteY38" fmla="*/ 723123 h 1394580"/>
                <a:gd name="connsiteX39" fmla="*/ 77488 w 490352"/>
                <a:gd name="connsiteY39" fmla="*/ 724023 h 1394580"/>
                <a:gd name="connsiteX40" fmla="*/ 75688 w 490352"/>
                <a:gd name="connsiteY40" fmla="*/ 796901 h 1394580"/>
                <a:gd name="connsiteX41" fmla="*/ 88734 w 490352"/>
                <a:gd name="connsiteY41" fmla="*/ 947605 h 1394580"/>
                <a:gd name="connsiteX42" fmla="*/ 101330 w 490352"/>
                <a:gd name="connsiteY42" fmla="*/ 1116755 h 1394580"/>
                <a:gd name="connsiteX43" fmla="*/ 128322 w 490352"/>
                <a:gd name="connsiteY43" fmla="*/ 1264310 h 1394580"/>
                <a:gd name="connsiteX44" fmla="*/ 129222 w 490352"/>
                <a:gd name="connsiteY44" fmla="*/ 1287253 h 1394580"/>
                <a:gd name="connsiteX45" fmla="*/ 133721 w 490352"/>
                <a:gd name="connsiteY45" fmla="*/ 1308397 h 1394580"/>
                <a:gd name="connsiteX46" fmla="*/ 124723 w 490352"/>
                <a:gd name="connsiteY46" fmla="*/ 1329990 h 1394580"/>
                <a:gd name="connsiteX47" fmla="*/ 115726 w 490352"/>
                <a:gd name="connsiteY47" fmla="*/ 1343037 h 1394580"/>
                <a:gd name="connsiteX48" fmla="*/ 86485 w 490352"/>
                <a:gd name="connsiteY48" fmla="*/ 1356982 h 1394580"/>
                <a:gd name="connsiteX49" fmla="*/ 49596 w 490352"/>
                <a:gd name="connsiteY49" fmla="*/ 1360581 h 1394580"/>
                <a:gd name="connsiteX50" fmla="*/ 37000 w 490352"/>
                <a:gd name="connsiteY50" fmla="*/ 1377676 h 1394580"/>
                <a:gd name="connsiteX51" fmla="*/ 32501 w 490352"/>
                <a:gd name="connsiteY51" fmla="*/ 1383075 h 1394580"/>
                <a:gd name="connsiteX52" fmla="*/ 153515 w 490352"/>
                <a:gd name="connsiteY52" fmla="*/ 1393871 h 1394580"/>
                <a:gd name="connsiteX53" fmla="*/ 207049 w 490352"/>
                <a:gd name="connsiteY53" fmla="*/ 1388923 h 1394580"/>
                <a:gd name="connsiteX54" fmla="*/ 207948 w 490352"/>
                <a:gd name="connsiteY54" fmla="*/ 1394771 h 1394580"/>
                <a:gd name="connsiteX55" fmla="*/ 256084 w 490352"/>
                <a:gd name="connsiteY55" fmla="*/ 1389373 h 1394580"/>
                <a:gd name="connsiteX56" fmla="*/ 256084 w 490352"/>
                <a:gd name="connsiteY56" fmla="*/ 1376776 h 1394580"/>
                <a:gd name="connsiteX57" fmla="*/ 248886 w 490352"/>
                <a:gd name="connsiteY57" fmla="*/ 1319194 h 1394580"/>
                <a:gd name="connsiteX58" fmla="*/ 246187 w 490352"/>
                <a:gd name="connsiteY58" fmla="*/ 1298500 h 1394580"/>
                <a:gd name="connsiteX59" fmla="*/ 244837 w 490352"/>
                <a:gd name="connsiteY59" fmla="*/ 1257112 h 1394580"/>
                <a:gd name="connsiteX60" fmla="*/ 244387 w 490352"/>
                <a:gd name="connsiteY60" fmla="*/ 1253963 h 1394580"/>
                <a:gd name="connsiteX61" fmla="*/ 244387 w 490352"/>
                <a:gd name="connsiteY61" fmla="*/ 1245866 h 1394580"/>
                <a:gd name="connsiteX62" fmla="*/ 239439 w 490352"/>
                <a:gd name="connsiteY62" fmla="*/ 1120354 h 1394580"/>
                <a:gd name="connsiteX63" fmla="*/ 239439 w 490352"/>
                <a:gd name="connsiteY63" fmla="*/ 1118554 h 1394580"/>
                <a:gd name="connsiteX64" fmla="*/ 238539 w 490352"/>
                <a:gd name="connsiteY64" fmla="*/ 1099210 h 1394580"/>
                <a:gd name="connsiteX65" fmla="*/ 235840 w 490352"/>
                <a:gd name="connsiteY65" fmla="*/ 1075817 h 1394580"/>
                <a:gd name="connsiteX66" fmla="*/ 234940 w 490352"/>
                <a:gd name="connsiteY66" fmla="*/ 1065020 h 1394580"/>
                <a:gd name="connsiteX67" fmla="*/ 230891 w 490352"/>
                <a:gd name="connsiteY67" fmla="*/ 1049275 h 1394580"/>
                <a:gd name="connsiteX68" fmla="*/ 230442 w 490352"/>
                <a:gd name="connsiteY68" fmla="*/ 1042977 h 1394580"/>
                <a:gd name="connsiteX69" fmla="*/ 229092 w 490352"/>
                <a:gd name="connsiteY69" fmla="*/ 1019134 h 1394580"/>
                <a:gd name="connsiteX70" fmla="*/ 232241 w 490352"/>
                <a:gd name="connsiteY70" fmla="*/ 1004289 h 1394580"/>
                <a:gd name="connsiteX71" fmla="*/ 237639 w 490352"/>
                <a:gd name="connsiteY71" fmla="*/ 930961 h 1394580"/>
                <a:gd name="connsiteX72" fmla="*/ 230891 w 490352"/>
                <a:gd name="connsiteY72" fmla="*/ 908017 h 1394580"/>
                <a:gd name="connsiteX73" fmla="*/ 229542 w 490352"/>
                <a:gd name="connsiteY73" fmla="*/ 896321 h 1394580"/>
                <a:gd name="connsiteX74" fmla="*/ 229092 w 490352"/>
                <a:gd name="connsiteY74" fmla="*/ 890473 h 1394580"/>
                <a:gd name="connsiteX75" fmla="*/ 229992 w 490352"/>
                <a:gd name="connsiteY75" fmla="*/ 872028 h 1394580"/>
                <a:gd name="connsiteX76" fmla="*/ 227743 w 490352"/>
                <a:gd name="connsiteY76" fmla="*/ 863031 h 1394580"/>
                <a:gd name="connsiteX77" fmla="*/ 227743 w 490352"/>
                <a:gd name="connsiteY77" fmla="*/ 858982 h 1394580"/>
                <a:gd name="connsiteX78" fmla="*/ 232691 w 490352"/>
                <a:gd name="connsiteY78" fmla="*/ 875177 h 1394580"/>
                <a:gd name="connsiteX79" fmla="*/ 246637 w 490352"/>
                <a:gd name="connsiteY79" fmla="*/ 910717 h 1394580"/>
                <a:gd name="connsiteX80" fmla="*/ 269580 w 490352"/>
                <a:gd name="connsiteY80" fmla="*/ 1003839 h 1394580"/>
                <a:gd name="connsiteX81" fmla="*/ 294772 w 490352"/>
                <a:gd name="connsiteY81" fmla="*/ 1084364 h 1394580"/>
                <a:gd name="connsiteX82" fmla="*/ 328062 w 490352"/>
                <a:gd name="connsiteY82" fmla="*/ 1185134 h 1394580"/>
                <a:gd name="connsiteX83" fmla="*/ 338409 w 490352"/>
                <a:gd name="connsiteY83" fmla="*/ 1253064 h 1394580"/>
                <a:gd name="connsiteX84" fmla="*/ 353705 w 490352"/>
                <a:gd name="connsiteY84" fmla="*/ 1319644 h 1394580"/>
                <a:gd name="connsiteX85" fmla="*/ 369000 w 490352"/>
                <a:gd name="connsiteY85" fmla="*/ 1344836 h 1394580"/>
                <a:gd name="connsiteX86" fmla="*/ 356404 w 490352"/>
                <a:gd name="connsiteY86" fmla="*/ 1359682 h 1394580"/>
                <a:gd name="connsiteX87" fmla="*/ 349206 w 490352"/>
                <a:gd name="connsiteY87" fmla="*/ 1375877 h 1394580"/>
                <a:gd name="connsiteX88" fmla="*/ 346507 w 490352"/>
                <a:gd name="connsiteY88" fmla="*/ 1387123 h 1394580"/>
                <a:gd name="connsiteX89" fmla="*/ 431531 w 490352"/>
                <a:gd name="connsiteY89" fmla="*/ 1394321 h 1394580"/>
                <a:gd name="connsiteX90" fmla="*/ 461222 w 490352"/>
                <a:gd name="connsiteY90" fmla="*/ 1391622 h 1394580"/>
                <a:gd name="connsiteX91" fmla="*/ 466621 w 490352"/>
                <a:gd name="connsiteY91" fmla="*/ 1390722 h 1394580"/>
                <a:gd name="connsiteX92" fmla="*/ 476968 w 490352"/>
                <a:gd name="connsiteY92" fmla="*/ 1385774 h 1394580"/>
                <a:gd name="connsiteX93" fmla="*/ 474718 w 490352"/>
                <a:gd name="connsiteY93" fmla="*/ 1361031 h 1394580"/>
                <a:gd name="connsiteX94" fmla="*/ 475168 w 490352"/>
                <a:gd name="connsiteY94" fmla="*/ 1357882 h 1394580"/>
                <a:gd name="connsiteX95" fmla="*/ 485965 w 490352"/>
                <a:gd name="connsiteY95" fmla="*/ 1338988 h 1394580"/>
                <a:gd name="connsiteX96" fmla="*/ 475168 w 490352"/>
                <a:gd name="connsiteY96" fmla="*/ 1309297 h 1394580"/>
                <a:gd name="connsiteX97" fmla="*/ 470669 w 490352"/>
                <a:gd name="connsiteY97" fmla="*/ 1285004 h 1394580"/>
                <a:gd name="connsiteX98" fmla="*/ 466171 w 490352"/>
                <a:gd name="connsiteY98" fmla="*/ 1252614 h 1394580"/>
                <a:gd name="connsiteX99" fmla="*/ 461222 w 490352"/>
                <a:gd name="connsiteY99" fmla="*/ 1221123 h 1394580"/>
                <a:gd name="connsiteX100" fmla="*/ 461672 w 490352"/>
                <a:gd name="connsiteY100" fmla="*/ 1174787 h 1394580"/>
                <a:gd name="connsiteX101" fmla="*/ 458973 w 490352"/>
                <a:gd name="connsiteY101" fmla="*/ 1123503 h 1394580"/>
                <a:gd name="connsiteX102" fmla="*/ 447726 w 490352"/>
                <a:gd name="connsiteY102" fmla="*/ 1071318 h 1394580"/>
                <a:gd name="connsiteX103" fmla="*/ 433330 w 490352"/>
                <a:gd name="connsiteY103" fmla="*/ 1017784 h 1394580"/>
                <a:gd name="connsiteX104" fmla="*/ 397791 w 490352"/>
                <a:gd name="connsiteY104" fmla="*/ 937259 h 1394580"/>
                <a:gd name="connsiteX105" fmla="*/ 393743 w 490352"/>
                <a:gd name="connsiteY105" fmla="*/ 920164 h 1394580"/>
                <a:gd name="connsiteX106" fmla="*/ 385645 w 490352"/>
                <a:gd name="connsiteY106" fmla="*/ 844587 h 1394580"/>
                <a:gd name="connsiteX107" fmla="*/ 384295 w 490352"/>
                <a:gd name="connsiteY107" fmla="*/ 836489 h 1394580"/>
                <a:gd name="connsiteX108" fmla="*/ 381146 w 490352"/>
                <a:gd name="connsiteY108" fmla="*/ 797801 h 1394580"/>
                <a:gd name="connsiteX109" fmla="*/ 381146 w 490352"/>
                <a:gd name="connsiteY109" fmla="*/ 796901 h 1394580"/>
                <a:gd name="connsiteX110" fmla="*/ 381146 w 490352"/>
                <a:gd name="connsiteY110" fmla="*/ 796001 h 1394580"/>
                <a:gd name="connsiteX111" fmla="*/ 375298 w 490352"/>
                <a:gd name="connsiteY111" fmla="*/ 751015 h 1394580"/>
                <a:gd name="connsiteX112" fmla="*/ 372149 w 490352"/>
                <a:gd name="connsiteY112" fmla="*/ 730321 h 1394580"/>
                <a:gd name="connsiteX113" fmla="*/ 369450 w 490352"/>
                <a:gd name="connsiteY113" fmla="*/ 715925 h 1394580"/>
                <a:gd name="connsiteX114" fmla="*/ 366751 w 490352"/>
                <a:gd name="connsiteY114" fmla="*/ 695681 h 1394580"/>
                <a:gd name="connsiteX115" fmla="*/ 391043 w 490352"/>
                <a:gd name="connsiteY115" fmla="*/ 688484 h 1394580"/>
                <a:gd name="connsiteX116" fmla="*/ 412187 w 490352"/>
                <a:gd name="connsiteY116" fmla="*/ 672289 h 1394580"/>
                <a:gd name="connsiteX117" fmla="*/ 430631 w 490352"/>
                <a:gd name="connsiteY117" fmla="*/ 652494 h 1394580"/>
                <a:gd name="connsiteX118" fmla="*/ 393743 w 490352"/>
                <a:gd name="connsiteY118" fmla="*/ 544527 h 1394580"/>
                <a:gd name="connsiteX119" fmla="*/ 367201 w 490352"/>
                <a:gd name="connsiteY119" fmla="*/ 476597 h 1394580"/>
                <a:gd name="connsiteX120" fmla="*/ 360003 w 490352"/>
                <a:gd name="connsiteY120" fmla="*/ 446006 h 1394580"/>
                <a:gd name="connsiteX121" fmla="*/ 362702 w 490352"/>
                <a:gd name="connsiteY121" fmla="*/ 380326 h 1394580"/>
                <a:gd name="connsiteX122" fmla="*/ 365401 w 490352"/>
                <a:gd name="connsiteY122" fmla="*/ 332191 h 1394580"/>
                <a:gd name="connsiteX123" fmla="*/ 365851 w 490352"/>
                <a:gd name="connsiteY123" fmla="*/ 286305 h 1394580"/>
                <a:gd name="connsiteX124" fmla="*/ 359553 w 490352"/>
                <a:gd name="connsiteY124" fmla="*/ 236370 h 1394580"/>
                <a:gd name="connsiteX125" fmla="*/ 330311 w 490352"/>
                <a:gd name="connsiteY125" fmla="*/ 176088 h 1394580"/>
                <a:gd name="connsiteX126" fmla="*/ 264181 w 490352"/>
                <a:gd name="connsiteY126" fmla="*/ 165291 h 1394580"/>
                <a:gd name="connsiteX127" fmla="*/ 230442 w 490352"/>
                <a:gd name="connsiteY127" fmla="*/ 164391 h 1394580"/>
                <a:gd name="connsiteX128" fmla="*/ 208398 w 490352"/>
                <a:gd name="connsiteY128" fmla="*/ 151345 h 1394580"/>
                <a:gd name="connsiteX129" fmla="*/ 205249 w 490352"/>
                <a:gd name="connsiteY129" fmla="*/ 141898 h 1394580"/>
                <a:gd name="connsiteX130" fmla="*/ 203900 w 490352"/>
                <a:gd name="connsiteY130" fmla="*/ 108608 h 1394580"/>
                <a:gd name="connsiteX131" fmla="*/ 199851 w 490352"/>
                <a:gd name="connsiteY131" fmla="*/ 90164 h 1394580"/>
                <a:gd name="connsiteX132" fmla="*/ 201650 w 490352"/>
                <a:gd name="connsiteY132" fmla="*/ 82516 h 1394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</a:cxnLst>
              <a:rect l="l" t="t" r="r" b="b"/>
              <a:pathLst>
                <a:path w="490352" h="1394580">
                  <a:moveTo>
                    <a:pt x="201650" y="82516"/>
                  </a:moveTo>
                  <a:cubicBezTo>
                    <a:pt x="201200" y="79817"/>
                    <a:pt x="198951" y="75318"/>
                    <a:pt x="198951" y="69470"/>
                  </a:cubicBezTo>
                  <a:cubicBezTo>
                    <a:pt x="198501" y="63622"/>
                    <a:pt x="192203" y="53275"/>
                    <a:pt x="185005" y="42028"/>
                  </a:cubicBezTo>
                  <a:cubicBezTo>
                    <a:pt x="177807" y="30782"/>
                    <a:pt x="167461" y="24034"/>
                    <a:pt x="159813" y="19085"/>
                  </a:cubicBezTo>
                  <a:cubicBezTo>
                    <a:pt x="152615" y="14137"/>
                    <a:pt x="141369" y="13687"/>
                    <a:pt x="138669" y="13687"/>
                  </a:cubicBezTo>
                  <a:cubicBezTo>
                    <a:pt x="135970" y="13687"/>
                    <a:pt x="134171" y="10088"/>
                    <a:pt x="126973" y="6489"/>
                  </a:cubicBezTo>
                  <a:cubicBezTo>
                    <a:pt x="119775" y="2890"/>
                    <a:pt x="97282" y="1990"/>
                    <a:pt x="81986" y="6039"/>
                  </a:cubicBezTo>
                  <a:cubicBezTo>
                    <a:pt x="66691" y="10088"/>
                    <a:pt x="42848" y="24484"/>
                    <a:pt x="33851" y="33031"/>
                  </a:cubicBezTo>
                  <a:cubicBezTo>
                    <a:pt x="24853" y="41578"/>
                    <a:pt x="13157" y="55074"/>
                    <a:pt x="8658" y="73519"/>
                  </a:cubicBezTo>
                  <a:cubicBezTo>
                    <a:pt x="4610" y="91963"/>
                    <a:pt x="-1688" y="105909"/>
                    <a:pt x="10458" y="127053"/>
                  </a:cubicBezTo>
                  <a:cubicBezTo>
                    <a:pt x="22154" y="147746"/>
                    <a:pt x="20355" y="133351"/>
                    <a:pt x="20355" y="133351"/>
                  </a:cubicBezTo>
                  <a:cubicBezTo>
                    <a:pt x="22604" y="136500"/>
                    <a:pt x="25304" y="138749"/>
                    <a:pt x="29352" y="140998"/>
                  </a:cubicBezTo>
                  <a:cubicBezTo>
                    <a:pt x="33401" y="143248"/>
                    <a:pt x="39699" y="145947"/>
                    <a:pt x="39249" y="149546"/>
                  </a:cubicBezTo>
                  <a:cubicBezTo>
                    <a:pt x="38799" y="152695"/>
                    <a:pt x="38799" y="164391"/>
                    <a:pt x="36100" y="176088"/>
                  </a:cubicBezTo>
                  <a:cubicBezTo>
                    <a:pt x="33401" y="187784"/>
                    <a:pt x="46897" y="185085"/>
                    <a:pt x="46897" y="185085"/>
                  </a:cubicBezTo>
                  <a:cubicBezTo>
                    <a:pt x="46897" y="185085"/>
                    <a:pt x="48696" y="191383"/>
                    <a:pt x="49146" y="195882"/>
                  </a:cubicBezTo>
                  <a:cubicBezTo>
                    <a:pt x="49596" y="201280"/>
                    <a:pt x="54545" y="199931"/>
                    <a:pt x="54545" y="199931"/>
                  </a:cubicBezTo>
                  <a:cubicBezTo>
                    <a:pt x="54095" y="203979"/>
                    <a:pt x="52745" y="203080"/>
                    <a:pt x="56344" y="206229"/>
                  </a:cubicBezTo>
                  <a:cubicBezTo>
                    <a:pt x="54095" y="207129"/>
                    <a:pt x="50046" y="210278"/>
                    <a:pt x="54545" y="224223"/>
                  </a:cubicBezTo>
                  <a:cubicBezTo>
                    <a:pt x="57244" y="233221"/>
                    <a:pt x="54994" y="235470"/>
                    <a:pt x="51845" y="238169"/>
                  </a:cubicBezTo>
                  <a:cubicBezTo>
                    <a:pt x="48696" y="240868"/>
                    <a:pt x="46897" y="240868"/>
                    <a:pt x="50496" y="253465"/>
                  </a:cubicBezTo>
                  <a:cubicBezTo>
                    <a:pt x="53645" y="263811"/>
                    <a:pt x="56794" y="268310"/>
                    <a:pt x="56794" y="276858"/>
                  </a:cubicBezTo>
                  <a:cubicBezTo>
                    <a:pt x="54095" y="279557"/>
                    <a:pt x="48696" y="284505"/>
                    <a:pt x="42398" y="291253"/>
                  </a:cubicBezTo>
                  <a:cubicBezTo>
                    <a:pt x="24853" y="297101"/>
                    <a:pt x="31152" y="332191"/>
                    <a:pt x="32501" y="340288"/>
                  </a:cubicBezTo>
                  <a:cubicBezTo>
                    <a:pt x="33851" y="347936"/>
                    <a:pt x="36550" y="371329"/>
                    <a:pt x="35650" y="377177"/>
                  </a:cubicBezTo>
                  <a:cubicBezTo>
                    <a:pt x="34751" y="383025"/>
                    <a:pt x="26653" y="403269"/>
                    <a:pt x="23504" y="408668"/>
                  </a:cubicBezTo>
                  <a:cubicBezTo>
                    <a:pt x="20355" y="413616"/>
                    <a:pt x="21255" y="424863"/>
                    <a:pt x="22154" y="432061"/>
                  </a:cubicBezTo>
                  <a:cubicBezTo>
                    <a:pt x="23054" y="439259"/>
                    <a:pt x="14956" y="446006"/>
                    <a:pt x="10908" y="465801"/>
                  </a:cubicBezTo>
                  <a:cubicBezTo>
                    <a:pt x="6859" y="485595"/>
                    <a:pt x="17656" y="506288"/>
                    <a:pt x="32951" y="513036"/>
                  </a:cubicBezTo>
                  <a:cubicBezTo>
                    <a:pt x="47797" y="519784"/>
                    <a:pt x="70740" y="520234"/>
                    <a:pt x="75238" y="520684"/>
                  </a:cubicBezTo>
                  <a:cubicBezTo>
                    <a:pt x="79737" y="521134"/>
                    <a:pt x="82886" y="526083"/>
                    <a:pt x="82436" y="530131"/>
                  </a:cubicBezTo>
                  <a:cubicBezTo>
                    <a:pt x="80187" y="537779"/>
                    <a:pt x="85135" y="540478"/>
                    <a:pt x="84685" y="544977"/>
                  </a:cubicBezTo>
                  <a:cubicBezTo>
                    <a:pt x="84236" y="549475"/>
                    <a:pt x="82436" y="551725"/>
                    <a:pt x="83336" y="556223"/>
                  </a:cubicBezTo>
                  <a:cubicBezTo>
                    <a:pt x="78837" y="564771"/>
                    <a:pt x="91883" y="573768"/>
                    <a:pt x="95033" y="581416"/>
                  </a:cubicBezTo>
                  <a:cubicBezTo>
                    <a:pt x="88734" y="586814"/>
                    <a:pt x="92333" y="589963"/>
                    <a:pt x="92333" y="589963"/>
                  </a:cubicBezTo>
                  <a:cubicBezTo>
                    <a:pt x="81087" y="617405"/>
                    <a:pt x="67141" y="721774"/>
                    <a:pt x="67141" y="721774"/>
                  </a:cubicBezTo>
                  <a:lnTo>
                    <a:pt x="72539" y="722673"/>
                  </a:lnTo>
                  <a:cubicBezTo>
                    <a:pt x="70740" y="722673"/>
                    <a:pt x="68940" y="723123"/>
                    <a:pt x="68041" y="723123"/>
                  </a:cubicBezTo>
                  <a:cubicBezTo>
                    <a:pt x="69390" y="723123"/>
                    <a:pt x="71189" y="723123"/>
                    <a:pt x="72989" y="723123"/>
                  </a:cubicBezTo>
                  <a:lnTo>
                    <a:pt x="77488" y="724023"/>
                  </a:lnTo>
                  <a:cubicBezTo>
                    <a:pt x="77937" y="730321"/>
                    <a:pt x="75238" y="769909"/>
                    <a:pt x="75688" y="796901"/>
                  </a:cubicBezTo>
                  <a:cubicBezTo>
                    <a:pt x="76138" y="823893"/>
                    <a:pt x="86485" y="903969"/>
                    <a:pt x="88734" y="947605"/>
                  </a:cubicBezTo>
                  <a:cubicBezTo>
                    <a:pt x="90984" y="991242"/>
                    <a:pt x="97282" y="1081215"/>
                    <a:pt x="101330" y="1116755"/>
                  </a:cubicBezTo>
                  <a:cubicBezTo>
                    <a:pt x="105379" y="1152294"/>
                    <a:pt x="123374" y="1258912"/>
                    <a:pt x="128322" y="1264310"/>
                  </a:cubicBezTo>
                  <a:cubicBezTo>
                    <a:pt x="132821" y="1269709"/>
                    <a:pt x="131471" y="1278256"/>
                    <a:pt x="129222" y="1287253"/>
                  </a:cubicBezTo>
                  <a:cubicBezTo>
                    <a:pt x="127423" y="1296250"/>
                    <a:pt x="131022" y="1303898"/>
                    <a:pt x="133721" y="1308397"/>
                  </a:cubicBezTo>
                  <a:cubicBezTo>
                    <a:pt x="136420" y="1312896"/>
                    <a:pt x="126973" y="1325042"/>
                    <a:pt x="124723" y="1329990"/>
                  </a:cubicBezTo>
                  <a:cubicBezTo>
                    <a:pt x="122024" y="1334939"/>
                    <a:pt x="119325" y="1338988"/>
                    <a:pt x="115726" y="1343037"/>
                  </a:cubicBezTo>
                  <a:cubicBezTo>
                    <a:pt x="112127" y="1346635"/>
                    <a:pt x="94133" y="1355183"/>
                    <a:pt x="86485" y="1356982"/>
                  </a:cubicBezTo>
                  <a:cubicBezTo>
                    <a:pt x="78837" y="1358782"/>
                    <a:pt x="59043" y="1360131"/>
                    <a:pt x="49596" y="1360581"/>
                  </a:cubicBezTo>
                  <a:cubicBezTo>
                    <a:pt x="40149" y="1361031"/>
                    <a:pt x="37000" y="1377676"/>
                    <a:pt x="37000" y="1377676"/>
                  </a:cubicBezTo>
                  <a:cubicBezTo>
                    <a:pt x="26653" y="1379026"/>
                    <a:pt x="32501" y="1383075"/>
                    <a:pt x="32501" y="1383075"/>
                  </a:cubicBezTo>
                  <a:cubicBezTo>
                    <a:pt x="44198" y="1397020"/>
                    <a:pt x="135520" y="1396120"/>
                    <a:pt x="153515" y="1393871"/>
                  </a:cubicBezTo>
                  <a:cubicBezTo>
                    <a:pt x="171509" y="1392072"/>
                    <a:pt x="207049" y="1388923"/>
                    <a:pt x="207049" y="1388923"/>
                  </a:cubicBezTo>
                  <a:lnTo>
                    <a:pt x="207948" y="1394771"/>
                  </a:lnTo>
                  <a:lnTo>
                    <a:pt x="256084" y="1389373"/>
                  </a:lnTo>
                  <a:cubicBezTo>
                    <a:pt x="256084" y="1384874"/>
                    <a:pt x="256084" y="1380375"/>
                    <a:pt x="256084" y="1376776"/>
                  </a:cubicBezTo>
                  <a:cubicBezTo>
                    <a:pt x="259683" y="1358782"/>
                    <a:pt x="251135" y="1328641"/>
                    <a:pt x="248886" y="1319194"/>
                  </a:cubicBezTo>
                  <a:cubicBezTo>
                    <a:pt x="247986" y="1315145"/>
                    <a:pt x="247086" y="1307947"/>
                    <a:pt x="246187" y="1298500"/>
                  </a:cubicBezTo>
                  <a:cubicBezTo>
                    <a:pt x="246187" y="1287703"/>
                    <a:pt x="246187" y="1273308"/>
                    <a:pt x="244837" y="1257112"/>
                  </a:cubicBezTo>
                  <a:cubicBezTo>
                    <a:pt x="244837" y="1256213"/>
                    <a:pt x="244837" y="1254863"/>
                    <a:pt x="244387" y="1253963"/>
                  </a:cubicBezTo>
                  <a:cubicBezTo>
                    <a:pt x="244387" y="1251264"/>
                    <a:pt x="244387" y="1248565"/>
                    <a:pt x="244387" y="1245866"/>
                  </a:cubicBezTo>
                  <a:cubicBezTo>
                    <a:pt x="244387" y="1222923"/>
                    <a:pt x="241239" y="1157692"/>
                    <a:pt x="239439" y="1120354"/>
                  </a:cubicBezTo>
                  <a:cubicBezTo>
                    <a:pt x="239439" y="1119904"/>
                    <a:pt x="239439" y="1119004"/>
                    <a:pt x="239439" y="1118554"/>
                  </a:cubicBezTo>
                  <a:cubicBezTo>
                    <a:pt x="239439" y="1111356"/>
                    <a:pt x="238989" y="1105058"/>
                    <a:pt x="238539" y="1099210"/>
                  </a:cubicBezTo>
                  <a:cubicBezTo>
                    <a:pt x="238089" y="1090663"/>
                    <a:pt x="237190" y="1082565"/>
                    <a:pt x="235840" y="1075817"/>
                  </a:cubicBezTo>
                  <a:cubicBezTo>
                    <a:pt x="235390" y="1072218"/>
                    <a:pt x="234940" y="1068619"/>
                    <a:pt x="234940" y="1065020"/>
                  </a:cubicBezTo>
                  <a:cubicBezTo>
                    <a:pt x="234940" y="1057373"/>
                    <a:pt x="232691" y="1053324"/>
                    <a:pt x="230891" y="1049275"/>
                  </a:cubicBezTo>
                  <a:cubicBezTo>
                    <a:pt x="230442" y="1047026"/>
                    <a:pt x="230442" y="1045226"/>
                    <a:pt x="230442" y="1042977"/>
                  </a:cubicBezTo>
                  <a:cubicBezTo>
                    <a:pt x="229992" y="1034879"/>
                    <a:pt x="228642" y="1027682"/>
                    <a:pt x="229092" y="1019134"/>
                  </a:cubicBezTo>
                  <a:cubicBezTo>
                    <a:pt x="229992" y="1014186"/>
                    <a:pt x="231341" y="1009687"/>
                    <a:pt x="232241" y="1004289"/>
                  </a:cubicBezTo>
                  <a:cubicBezTo>
                    <a:pt x="237639" y="988093"/>
                    <a:pt x="237639" y="954803"/>
                    <a:pt x="237639" y="930961"/>
                  </a:cubicBezTo>
                  <a:cubicBezTo>
                    <a:pt x="237639" y="910717"/>
                    <a:pt x="234041" y="912066"/>
                    <a:pt x="230891" y="908017"/>
                  </a:cubicBezTo>
                  <a:cubicBezTo>
                    <a:pt x="230442" y="903069"/>
                    <a:pt x="229992" y="899020"/>
                    <a:pt x="229542" y="896321"/>
                  </a:cubicBezTo>
                  <a:cubicBezTo>
                    <a:pt x="229092" y="894521"/>
                    <a:pt x="229092" y="892722"/>
                    <a:pt x="229092" y="890473"/>
                  </a:cubicBezTo>
                  <a:cubicBezTo>
                    <a:pt x="229542" y="884624"/>
                    <a:pt x="230442" y="877876"/>
                    <a:pt x="229992" y="872028"/>
                  </a:cubicBezTo>
                  <a:cubicBezTo>
                    <a:pt x="229542" y="869779"/>
                    <a:pt x="229092" y="866630"/>
                    <a:pt x="227743" y="863031"/>
                  </a:cubicBezTo>
                  <a:cubicBezTo>
                    <a:pt x="227743" y="860332"/>
                    <a:pt x="227743" y="858982"/>
                    <a:pt x="227743" y="858982"/>
                  </a:cubicBezTo>
                  <a:cubicBezTo>
                    <a:pt x="227743" y="858982"/>
                    <a:pt x="230442" y="868879"/>
                    <a:pt x="232691" y="875177"/>
                  </a:cubicBezTo>
                  <a:cubicBezTo>
                    <a:pt x="234940" y="881476"/>
                    <a:pt x="244387" y="901719"/>
                    <a:pt x="246637" y="910717"/>
                  </a:cubicBezTo>
                  <a:cubicBezTo>
                    <a:pt x="249336" y="919714"/>
                    <a:pt x="262832" y="975497"/>
                    <a:pt x="269580" y="1003839"/>
                  </a:cubicBezTo>
                  <a:cubicBezTo>
                    <a:pt x="276328" y="1032180"/>
                    <a:pt x="288025" y="1067270"/>
                    <a:pt x="294772" y="1084364"/>
                  </a:cubicBezTo>
                  <a:cubicBezTo>
                    <a:pt x="301520" y="1101909"/>
                    <a:pt x="323563" y="1159942"/>
                    <a:pt x="328062" y="1185134"/>
                  </a:cubicBezTo>
                  <a:cubicBezTo>
                    <a:pt x="332561" y="1210326"/>
                    <a:pt x="336610" y="1243617"/>
                    <a:pt x="338409" y="1253064"/>
                  </a:cubicBezTo>
                  <a:cubicBezTo>
                    <a:pt x="340209" y="1262511"/>
                    <a:pt x="349206" y="1303898"/>
                    <a:pt x="353705" y="1319644"/>
                  </a:cubicBezTo>
                  <a:cubicBezTo>
                    <a:pt x="357754" y="1335389"/>
                    <a:pt x="368100" y="1341687"/>
                    <a:pt x="369000" y="1344836"/>
                  </a:cubicBezTo>
                  <a:cubicBezTo>
                    <a:pt x="369900" y="1347985"/>
                    <a:pt x="364051" y="1353383"/>
                    <a:pt x="356404" y="1359682"/>
                  </a:cubicBezTo>
                  <a:cubicBezTo>
                    <a:pt x="348756" y="1365979"/>
                    <a:pt x="350555" y="1369129"/>
                    <a:pt x="349206" y="1375877"/>
                  </a:cubicBezTo>
                  <a:cubicBezTo>
                    <a:pt x="347856" y="1378576"/>
                    <a:pt x="339759" y="1379925"/>
                    <a:pt x="346507" y="1387123"/>
                  </a:cubicBezTo>
                  <a:cubicBezTo>
                    <a:pt x="353255" y="1394321"/>
                    <a:pt x="418035" y="1395221"/>
                    <a:pt x="431531" y="1394321"/>
                  </a:cubicBezTo>
                  <a:cubicBezTo>
                    <a:pt x="444577" y="1393421"/>
                    <a:pt x="458973" y="1395221"/>
                    <a:pt x="461222" y="1391622"/>
                  </a:cubicBezTo>
                  <a:cubicBezTo>
                    <a:pt x="463472" y="1387573"/>
                    <a:pt x="466621" y="1390722"/>
                    <a:pt x="466621" y="1390722"/>
                  </a:cubicBezTo>
                  <a:cubicBezTo>
                    <a:pt x="471569" y="1388473"/>
                    <a:pt x="476968" y="1385774"/>
                    <a:pt x="476968" y="1385774"/>
                  </a:cubicBezTo>
                  <a:cubicBezTo>
                    <a:pt x="476517" y="1372278"/>
                    <a:pt x="475168" y="1366879"/>
                    <a:pt x="474718" y="1361031"/>
                  </a:cubicBezTo>
                  <a:cubicBezTo>
                    <a:pt x="474718" y="1359682"/>
                    <a:pt x="474718" y="1358782"/>
                    <a:pt x="475168" y="1357882"/>
                  </a:cubicBezTo>
                  <a:cubicBezTo>
                    <a:pt x="478317" y="1353833"/>
                    <a:pt x="481916" y="1347985"/>
                    <a:pt x="485965" y="1338988"/>
                  </a:cubicBezTo>
                  <a:cubicBezTo>
                    <a:pt x="490913" y="1326391"/>
                    <a:pt x="479217" y="1318294"/>
                    <a:pt x="475168" y="1309297"/>
                  </a:cubicBezTo>
                  <a:cubicBezTo>
                    <a:pt x="471119" y="1300299"/>
                    <a:pt x="471119" y="1297600"/>
                    <a:pt x="470669" y="1285004"/>
                  </a:cubicBezTo>
                  <a:cubicBezTo>
                    <a:pt x="469769" y="1271958"/>
                    <a:pt x="466171" y="1264310"/>
                    <a:pt x="466171" y="1252614"/>
                  </a:cubicBezTo>
                  <a:cubicBezTo>
                    <a:pt x="465721" y="1240467"/>
                    <a:pt x="461672" y="1235519"/>
                    <a:pt x="461222" y="1221123"/>
                  </a:cubicBezTo>
                  <a:cubicBezTo>
                    <a:pt x="460772" y="1206728"/>
                    <a:pt x="459423" y="1199080"/>
                    <a:pt x="461672" y="1174787"/>
                  </a:cubicBezTo>
                  <a:cubicBezTo>
                    <a:pt x="463921" y="1150495"/>
                    <a:pt x="461672" y="1145996"/>
                    <a:pt x="458973" y="1123503"/>
                  </a:cubicBezTo>
                  <a:cubicBezTo>
                    <a:pt x="457623" y="1111356"/>
                    <a:pt x="453125" y="1091562"/>
                    <a:pt x="447726" y="1071318"/>
                  </a:cubicBezTo>
                  <a:cubicBezTo>
                    <a:pt x="442777" y="1051074"/>
                    <a:pt x="436930" y="1031280"/>
                    <a:pt x="433330" y="1017784"/>
                  </a:cubicBezTo>
                  <a:cubicBezTo>
                    <a:pt x="424783" y="986744"/>
                    <a:pt x="402290" y="951205"/>
                    <a:pt x="397791" y="937259"/>
                  </a:cubicBezTo>
                  <a:cubicBezTo>
                    <a:pt x="396442" y="933210"/>
                    <a:pt x="395092" y="926912"/>
                    <a:pt x="393743" y="920164"/>
                  </a:cubicBezTo>
                  <a:cubicBezTo>
                    <a:pt x="391043" y="898570"/>
                    <a:pt x="386995" y="857183"/>
                    <a:pt x="385645" y="844587"/>
                  </a:cubicBezTo>
                  <a:cubicBezTo>
                    <a:pt x="385195" y="841887"/>
                    <a:pt x="384745" y="839188"/>
                    <a:pt x="384295" y="836489"/>
                  </a:cubicBezTo>
                  <a:cubicBezTo>
                    <a:pt x="382946" y="820294"/>
                    <a:pt x="382046" y="804549"/>
                    <a:pt x="381146" y="797801"/>
                  </a:cubicBezTo>
                  <a:cubicBezTo>
                    <a:pt x="381146" y="797351"/>
                    <a:pt x="381146" y="797351"/>
                    <a:pt x="381146" y="796901"/>
                  </a:cubicBezTo>
                  <a:cubicBezTo>
                    <a:pt x="381146" y="796451"/>
                    <a:pt x="381146" y="796451"/>
                    <a:pt x="381146" y="796001"/>
                  </a:cubicBezTo>
                  <a:cubicBezTo>
                    <a:pt x="384295" y="775307"/>
                    <a:pt x="375748" y="760012"/>
                    <a:pt x="375298" y="751015"/>
                  </a:cubicBezTo>
                  <a:cubicBezTo>
                    <a:pt x="374848" y="743817"/>
                    <a:pt x="373949" y="737519"/>
                    <a:pt x="372149" y="730321"/>
                  </a:cubicBezTo>
                  <a:cubicBezTo>
                    <a:pt x="371249" y="725373"/>
                    <a:pt x="370349" y="720424"/>
                    <a:pt x="369450" y="715925"/>
                  </a:cubicBezTo>
                  <a:cubicBezTo>
                    <a:pt x="366751" y="704229"/>
                    <a:pt x="366751" y="695681"/>
                    <a:pt x="366751" y="695681"/>
                  </a:cubicBezTo>
                  <a:cubicBezTo>
                    <a:pt x="366751" y="695681"/>
                    <a:pt x="381146" y="692532"/>
                    <a:pt x="391043" y="688484"/>
                  </a:cubicBezTo>
                  <a:cubicBezTo>
                    <a:pt x="400491" y="684435"/>
                    <a:pt x="404089" y="679037"/>
                    <a:pt x="412187" y="672289"/>
                  </a:cubicBezTo>
                  <a:cubicBezTo>
                    <a:pt x="420284" y="665990"/>
                    <a:pt x="433780" y="665091"/>
                    <a:pt x="430631" y="652494"/>
                  </a:cubicBezTo>
                  <a:cubicBezTo>
                    <a:pt x="427483" y="640348"/>
                    <a:pt x="399141" y="559372"/>
                    <a:pt x="393743" y="544527"/>
                  </a:cubicBezTo>
                  <a:cubicBezTo>
                    <a:pt x="388344" y="529231"/>
                    <a:pt x="370799" y="485595"/>
                    <a:pt x="367201" y="476597"/>
                  </a:cubicBezTo>
                  <a:cubicBezTo>
                    <a:pt x="364051" y="467150"/>
                    <a:pt x="360003" y="457703"/>
                    <a:pt x="360003" y="446006"/>
                  </a:cubicBezTo>
                  <a:cubicBezTo>
                    <a:pt x="359553" y="434310"/>
                    <a:pt x="361352" y="391573"/>
                    <a:pt x="362702" y="380326"/>
                  </a:cubicBezTo>
                  <a:cubicBezTo>
                    <a:pt x="364502" y="369080"/>
                    <a:pt x="361352" y="351085"/>
                    <a:pt x="365401" y="332191"/>
                  </a:cubicBezTo>
                  <a:cubicBezTo>
                    <a:pt x="369450" y="313296"/>
                    <a:pt x="367201" y="294852"/>
                    <a:pt x="365851" y="286305"/>
                  </a:cubicBezTo>
                  <a:cubicBezTo>
                    <a:pt x="364502" y="277757"/>
                    <a:pt x="361802" y="258863"/>
                    <a:pt x="359553" y="236370"/>
                  </a:cubicBezTo>
                  <a:cubicBezTo>
                    <a:pt x="356853" y="213876"/>
                    <a:pt x="357754" y="190483"/>
                    <a:pt x="330311" y="176088"/>
                  </a:cubicBezTo>
                  <a:cubicBezTo>
                    <a:pt x="302870" y="161692"/>
                    <a:pt x="273629" y="165741"/>
                    <a:pt x="264181" y="165291"/>
                  </a:cubicBezTo>
                  <a:cubicBezTo>
                    <a:pt x="254734" y="164841"/>
                    <a:pt x="238539" y="167540"/>
                    <a:pt x="230442" y="164391"/>
                  </a:cubicBezTo>
                  <a:cubicBezTo>
                    <a:pt x="222344" y="161242"/>
                    <a:pt x="211997" y="153595"/>
                    <a:pt x="208398" y="151345"/>
                  </a:cubicBezTo>
                  <a:cubicBezTo>
                    <a:pt x="205249" y="148646"/>
                    <a:pt x="204800" y="153145"/>
                    <a:pt x="205249" y="141898"/>
                  </a:cubicBezTo>
                  <a:cubicBezTo>
                    <a:pt x="205699" y="131101"/>
                    <a:pt x="204800" y="117156"/>
                    <a:pt x="203900" y="108608"/>
                  </a:cubicBezTo>
                  <a:cubicBezTo>
                    <a:pt x="203000" y="100061"/>
                    <a:pt x="199851" y="93763"/>
                    <a:pt x="199851" y="90164"/>
                  </a:cubicBezTo>
                  <a:cubicBezTo>
                    <a:pt x="199851" y="84765"/>
                    <a:pt x="202100" y="85665"/>
                    <a:pt x="201650" y="82516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EE2FE950-1000-4D79-A3D1-000765A813C1}"/>
                </a:ext>
              </a:extLst>
            </p:cNvPr>
            <p:cNvSpPr/>
            <p:nvPr/>
          </p:nvSpPr>
          <p:spPr>
            <a:xfrm>
              <a:off x="9592679" y="5306834"/>
              <a:ext cx="12439" cy="6220"/>
            </a:xfrm>
            <a:custGeom>
              <a:avLst/>
              <a:gdLst>
                <a:gd name="connsiteX0" fmla="*/ 5623 w 8997"/>
                <a:gd name="connsiteY0" fmla="*/ 3374 h 4498"/>
                <a:gd name="connsiteX1" fmla="*/ 3374 w 8997"/>
                <a:gd name="connsiteY1" fmla="*/ 3374 h 4498"/>
                <a:gd name="connsiteX2" fmla="*/ 5623 w 8997"/>
                <a:gd name="connsiteY2" fmla="*/ 3374 h 4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97" h="4498">
                  <a:moveTo>
                    <a:pt x="5623" y="3374"/>
                  </a:moveTo>
                  <a:cubicBezTo>
                    <a:pt x="4273" y="3374"/>
                    <a:pt x="3374" y="3374"/>
                    <a:pt x="3374" y="3374"/>
                  </a:cubicBezTo>
                  <a:cubicBezTo>
                    <a:pt x="3374" y="3374"/>
                    <a:pt x="4273" y="3374"/>
                    <a:pt x="5623" y="337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432BDB8A-5561-4005-8081-FCC53F745022}"/>
                </a:ext>
              </a:extLst>
            </p:cNvPr>
            <p:cNvSpPr/>
            <p:nvPr/>
          </p:nvSpPr>
          <p:spPr>
            <a:xfrm>
              <a:off x="6971816" y="4263428"/>
              <a:ext cx="447820" cy="1971655"/>
            </a:xfrm>
            <a:custGeom>
              <a:avLst/>
              <a:gdLst>
                <a:gd name="connsiteX0" fmla="*/ 4179 w 323902"/>
                <a:gd name="connsiteY0" fmla="*/ 405362 h 1426070"/>
                <a:gd name="connsiteX1" fmla="*/ 14526 w 323902"/>
                <a:gd name="connsiteY1" fmla="*/ 474641 h 1426070"/>
                <a:gd name="connsiteX2" fmla="*/ 15875 w 323902"/>
                <a:gd name="connsiteY2" fmla="*/ 478690 h 1426070"/>
                <a:gd name="connsiteX3" fmla="*/ 31621 w 323902"/>
                <a:gd name="connsiteY3" fmla="*/ 502983 h 1426070"/>
                <a:gd name="connsiteX4" fmla="*/ 47816 w 323902"/>
                <a:gd name="connsiteY4" fmla="*/ 505232 h 1426070"/>
                <a:gd name="connsiteX5" fmla="*/ 58613 w 323902"/>
                <a:gd name="connsiteY5" fmla="*/ 496235 h 1426070"/>
                <a:gd name="connsiteX6" fmla="*/ 62211 w 323902"/>
                <a:gd name="connsiteY6" fmla="*/ 501633 h 1426070"/>
                <a:gd name="connsiteX7" fmla="*/ 62211 w 323902"/>
                <a:gd name="connsiteY7" fmla="*/ 501633 h 1426070"/>
                <a:gd name="connsiteX8" fmla="*/ 62661 w 323902"/>
                <a:gd name="connsiteY8" fmla="*/ 503432 h 1426070"/>
                <a:gd name="connsiteX9" fmla="*/ 77507 w 323902"/>
                <a:gd name="connsiteY9" fmla="*/ 513329 h 1426070"/>
                <a:gd name="connsiteX10" fmla="*/ 74808 w 323902"/>
                <a:gd name="connsiteY10" fmla="*/ 518728 h 1426070"/>
                <a:gd name="connsiteX11" fmla="*/ 68959 w 323902"/>
                <a:gd name="connsiteY11" fmla="*/ 533123 h 1426070"/>
                <a:gd name="connsiteX12" fmla="*/ 70759 w 323902"/>
                <a:gd name="connsiteY12" fmla="*/ 544820 h 1426070"/>
                <a:gd name="connsiteX13" fmla="*/ 68510 w 323902"/>
                <a:gd name="connsiteY13" fmla="*/ 549319 h 1426070"/>
                <a:gd name="connsiteX14" fmla="*/ 68060 w 323902"/>
                <a:gd name="connsiteY14" fmla="*/ 549768 h 1426070"/>
                <a:gd name="connsiteX15" fmla="*/ 45567 w 323902"/>
                <a:gd name="connsiteY15" fmla="*/ 659535 h 1426070"/>
                <a:gd name="connsiteX16" fmla="*/ 41968 w 323902"/>
                <a:gd name="connsiteY16" fmla="*/ 848928 h 1426070"/>
                <a:gd name="connsiteX17" fmla="*/ 46466 w 323902"/>
                <a:gd name="connsiteY17" fmla="*/ 862874 h 1426070"/>
                <a:gd name="connsiteX18" fmla="*/ 77507 w 323902"/>
                <a:gd name="connsiteY18" fmla="*/ 868722 h 1426070"/>
                <a:gd name="connsiteX19" fmla="*/ 98201 w 323902"/>
                <a:gd name="connsiteY19" fmla="*/ 987486 h 1426070"/>
                <a:gd name="connsiteX20" fmla="*/ 60862 w 323902"/>
                <a:gd name="connsiteY20" fmla="*/ 1081958 h 1426070"/>
                <a:gd name="connsiteX21" fmla="*/ 52315 w 323902"/>
                <a:gd name="connsiteY21" fmla="*/ 1226814 h 1426070"/>
                <a:gd name="connsiteX22" fmla="*/ 53664 w 323902"/>
                <a:gd name="connsiteY22" fmla="*/ 1287996 h 1426070"/>
                <a:gd name="connsiteX23" fmla="*/ 41968 w 323902"/>
                <a:gd name="connsiteY23" fmla="*/ 1329384 h 1426070"/>
                <a:gd name="connsiteX24" fmla="*/ 37469 w 323902"/>
                <a:gd name="connsiteY24" fmla="*/ 1335232 h 1426070"/>
                <a:gd name="connsiteX25" fmla="*/ 23523 w 323902"/>
                <a:gd name="connsiteY25" fmla="*/ 1373020 h 1426070"/>
                <a:gd name="connsiteX26" fmla="*/ 37469 w 323902"/>
                <a:gd name="connsiteY26" fmla="*/ 1426104 h 1426070"/>
                <a:gd name="connsiteX27" fmla="*/ 45567 w 323902"/>
                <a:gd name="connsiteY27" fmla="*/ 1428354 h 1426070"/>
                <a:gd name="connsiteX28" fmla="*/ 52315 w 323902"/>
                <a:gd name="connsiteY28" fmla="*/ 1420256 h 1426070"/>
                <a:gd name="connsiteX29" fmla="*/ 75707 w 323902"/>
                <a:gd name="connsiteY29" fmla="*/ 1427454 h 1426070"/>
                <a:gd name="connsiteX30" fmla="*/ 132391 w 323902"/>
                <a:gd name="connsiteY30" fmla="*/ 1427454 h 1426070"/>
                <a:gd name="connsiteX31" fmla="*/ 149036 w 323902"/>
                <a:gd name="connsiteY31" fmla="*/ 1413059 h 1426070"/>
                <a:gd name="connsiteX32" fmla="*/ 133740 w 323902"/>
                <a:gd name="connsiteY32" fmla="*/ 1396863 h 1426070"/>
                <a:gd name="connsiteX33" fmla="*/ 124743 w 323902"/>
                <a:gd name="connsiteY33" fmla="*/ 1390115 h 1426070"/>
                <a:gd name="connsiteX34" fmla="*/ 111247 w 323902"/>
                <a:gd name="connsiteY34" fmla="*/ 1372121 h 1426070"/>
                <a:gd name="connsiteX35" fmla="*/ 98201 w 323902"/>
                <a:gd name="connsiteY35" fmla="*/ 1278999 h 1426070"/>
                <a:gd name="connsiteX36" fmla="*/ 131041 w 323902"/>
                <a:gd name="connsiteY36" fmla="*/ 1141340 h 1426070"/>
                <a:gd name="connsiteX37" fmla="*/ 144087 w 323902"/>
                <a:gd name="connsiteY37" fmla="*/ 1077909 h 1426070"/>
                <a:gd name="connsiteX38" fmla="*/ 159382 w 323902"/>
                <a:gd name="connsiteY38" fmla="*/ 1046419 h 1426070"/>
                <a:gd name="connsiteX39" fmla="*/ 162081 w 323902"/>
                <a:gd name="connsiteY39" fmla="*/ 1059015 h 1426070"/>
                <a:gd name="connsiteX40" fmla="*/ 151285 w 323902"/>
                <a:gd name="connsiteY40" fmla="*/ 1154386 h 1426070"/>
                <a:gd name="connsiteX41" fmla="*/ 149935 w 323902"/>
                <a:gd name="connsiteY41" fmla="*/ 1278999 h 1426070"/>
                <a:gd name="connsiteX42" fmla="*/ 141388 w 323902"/>
                <a:gd name="connsiteY42" fmla="*/ 1327134 h 1426070"/>
                <a:gd name="connsiteX43" fmla="*/ 135989 w 323902"/>
                <a:gd name="connsiteY43" fmla="*/ 1336582 h 1426070"/>
                <a:gd name="connsiteX44" fmla="*/ 130591 w 323902"/>
                <a:gd name="connsiteY44" fmla="*/ 1371221 h 1426070"/>
                <a:gd name="connsiteX45" fmla="*/ 153084 w 323902"/>
                <a:gd name="connsiteY45" fmla="*/ 1421606 h 1426070"/>
                <a:gd name="connsiteX46" fmla="*/ 164781 w 323902"/>
                <a:gd name="connsiteY46" fmla="*/ 1422956 h 1426070"/>
                <a:gd name="connsiteX47" fmla="*/ 167030 w 323902"/>
                <a:gd name="connsiteY47" fmla="*/ 1416208 h 1426070"/>
                <a:gd name="connsiteX48" fmla="*/ 179626 w 323902"/>
                <a:gd name="connsiteY48" fmla="*/ 1423405 h 1426070"/>
                <a:gd name="connsiteX49" fmla="*/ 231810 w 323902"/>
                <a:gd name="connsiteY49" fmla="*/ 1423405 h 1426070"/>
                <a:gd name="connsiteX50" fmla="*/ 239908 w 323902"/>
                <a:gd name="connsiteY50" fmla="*/ 1415308 h 1426070"/>
                <a:gd name="connsiteX51" fmla="*/ 215165 w 323902"/>
                <a:gd name="connsiteY51" fmla="*/ 1387866 h 1426070"/>
                <a:gd name="connsiteX52" fmla="*/ 213366 w 323902"/>
                <a:gd name="connsiteY52" fmla="*/ 1385167 h 1426070"/>
                <a:gd name="connsiteX53" fmla="*/ 195372 w 323902"/>
                <a:gd name="connsiteY53" fmla="*/ 1331183 h 1426070"/>
                <a:gd name="connsiteX54" fmla="*/ 213366 w 323902"/>
                <a:gd name="connsiteY54" fmla="*/ 1204321 h 1426070"/>
                <a:gd name="connsiteX55" fmla="*/ 233610 w 323902"/>
                <a:gd name="connsiteY55" fmla="*/ 1048668 h 1426070"/>
                <a:gd name="connsiteX56" fmla="*/ 239458 w 323902"/>
                <a:gd name="connsiteY56" fmla="*/ 1020327 h 1426070"/>
                <a:gd name="connsiteX57" fmla="*/ 242157 w 323902"/>
                <a:gd name="connsiteY57" fmla="*/ 987037 h 1426070"/>
                <a:gd name="connsiteX58" fmla="*/ 269599 w 323902"/>
                <a:gd name="connsiteY58" fmla="*/ 890766 h 1426070"/>
                <a:gd name="connsiteX59" fmla="*/ 271398 w 323902"/>
                <a:gd name="connsiteY59" fmla="*/ 890766 h 1426070"/>
                <a:gd name="connsiteX60" fmla="*/ 303789 w 323902"/>
                <a:gd name="connsiteY60" fmla="*/ 889416 h 1426070"/>
                <a:gd name="connsiteX61" fmla="*/ 301539 w 323902"/>
                <a:gd name="connsiteY61" fmla="*/ 846679 h 1426070"/>
                <a:gd name="connsiteX62" fmla="*/ 301090 w 323902"/>
                <a:gd name="connsiteY62" fmla="*/ 798094 h 1426070"/>
                <a:gd name="connsiteX63" fmla="*/ 318185 w 323902"/>
                <a:gd name="connsiteY63" fmla="*/ 787297 h 1426070"/>
                <a:gd name="connsiteX64" fmla="*/ 320884 w 323902"/>
                <a:gd name="connsiteY64" fmla="*/ 771102 h 1426070"/>
                <a:gd name="connsiteX65" fmla="*/ 321783 w 323902"/>
                <a:gd name="connsiteY65" fmla="*/ 758056 h 1426070"/>
                <a:gd name="connsiteX66" fmla="*/ 324483 w 323902"/>
                <a:gd name="connsiteY66" fmla="*/ 748159 h 1426070"/>
                <a:gd name="connsiteX67" fmla="*/ 322233 w 323902"/>
                <a:gd name="connsiteY67" fmla="*/ 723416 h 1426070"/>
                <a:gd name="connsiteX68" fmla="*/ 322233 w 323902"/>
                <a:gd name="connsiteY68" fmla="*/ 675281 h 1426070"/>
                <a:gd name="connsiteX69" fmla="*/ 309637 w 323902"/>
                <a:gd name="connsiteY69" fmla="*/ 628495 h 1426070"/>
                <a:gd name="connsiteX70" fmla="*/ 301090 w 323902"/>
                <a:gd name="connsiteY70" fmla="*/ 577210 h 1426070"/>
                <a:gd name="connsiteX71" fmla="*/ 299740 w 323902"/>
                <a:gd name="connsiteY71" fmla="*/ 557866 h 1426070"/>
                <a:gd name="connsiteX72" fmla="*/ 301090 w 323902"/>
                <a:gd name="connsiteY72" fmla="*/ 546619 h 1426070"/>
                <a:gd name="connsiteX73" fmla="*/ 295242 w 323902"/>
                <a:gd name="connsiteY73" fmla="*/ 521427 h 1426070"/>
                <a:gd name="connsiteX74" fmla="*/ 298390 w 323902"/>
                <a:gd name="connsiteY74" fmla="*/ 512879 h 1426070"/>
                <a:gd name="connsiteX75" fmla="*/ 295691 w 323902"/>
                <a:gd name="connsiteY75" fmla="*/ 495785 h 1426070"/>
                <a:gd name="connsiteX76" fmla="*/ 297941 w 323902"/>
                <a:gd name="connsiteY76" fmla="*/ 395915 h 1426070"/>
                <a:gd name="connsiteX77" fmla="*/ 298840 w 323902"/>
                <a:gd name="connsiteY77" fmla="*/ 314039 h 1426070"/>
                <a:gd name="connsiteX78" fmla="*/ 244407 w 323902"/>
                <a:gd name="connsiteY78" fmla="*/ 244760 h 1426070"/>
                <a:gd name="connsiteX79" fmla="*/ 243957 w 323902"/>
                <a:gd name="connsiteY79" fmla="*/ 237563 h 1426070"/>
                <a:gd name="connsiteX80" fmla="*/ 240358 w 323902"/>
                <a:gd name="connsiteY80" fmla="*/ 227215 h 1426070"/>
                <a:gd name="connsiteX81" fmla="*/ 234060 w 323902"/>
                <a:gd name="connsiteY81" fmla="*/ 198874 h 1426070"/>
                <a:gd name="connsiteX82" fmla="*/ 237659 w 323902"/>
                <a:gd name="connsiteY82" fmla="*/ 196175 h 1426070"/>
                <a:gd name="connsiteX83" fmla="*/ 251605 w 323902"/>
                <a:gd name="connsiteY83" fmla="*/ 192126 h 1426070"/>
                <a:gd name="connsiteX84" fmla="*/ 253404 w 323902"/>
                <a:gd name="connsiteY84" fmla="*/ 180430 h 1426070"/>
                <a:gd name="connsiteX85" fmla="*/ 258353 w 323902"/>
                <a:gd name="connsiteY85" fmla="*/ 167834 h 1426070"/>
                <a:gd name="connsiteX86" fmla="*/ 261052 w 323902"/>
                <a:gd name="connsiteY86" fmla="*/ 159736 h 1426070"/>
                <a:gd name="connsiteX87" fmla="*/ 263751 w 323902"/>
                <a:gd name="connsiteY87" fmla="*/ 151188 h 1426070"/>
                <a:gd name="connsiteX88" fmla="*/ 270499 w 323902"/>
                <a:gd name="connsiteY88" fmla="*/ 125096 h 1426070"/>
                <a:gd name="connsiteX89" fmla="*/ 267800 w 323902"/>
                <a:gd name="connsiteY89" fmla="*/ 108451 h 1426070"/>
                <a:gd name="connsiteX90" fmla="*/ 270049 w 323902"/>
                <a:gd name="connsiteY90" fmla="*/ 98104 h 1426070"/>
                <a:gd name="connsiteX91" fmla="*/ 269149 w 323902"/>
                <a:gd name="connsiteY91" fmla="*/ 80560 h 1426070"/>
                <a:gd name="connsiteX92" fmla="*/ 267800 w 323902"/>
                <a:gd name="connsiteY92" fmla="*/ 59416 h 1426070"/>
                <a:gd name="connsiteX93" fmla="*/ 266450 w 323902"/>
                <a:gd name="connsiteY93" fmla="*/ 41871 h 1426070"/>
                <a:gd name="connsiteX94" fmla="*/ 226412 w 323902"/>
                <a:gd name="connsiteY94" fmla="*/ 9931 h 1426070"/>
                <a:gd name="connsiteX95" fmla="*/ 124293 w 323902"/>
                <a:gd name="connsiteY95" fmla="*/ 39172 h 1426070"/>
                <a:gd name="connsiteX96" fmla="*/ 106748 w 323902"/>
                <a:gd name="connsiteY96" fmla="*/ 110701 h 1426070"/>
                <a:gd name="connsiteX97" fmla="*/ 97301 w 323902"/>
                <a:gd name="connsiteY97" fmla="*/ 179080 h 1426070"/>
                <a:gd name="connsiteX98" fmla="*/ 100000 w 323902"/>
                <a:gd name="connsiteY98" fmla="*/ 196625 h 1426070"/>
                <a:gd name="connsiteX99" fmla="*/ 108548 w 323902"/>
                <a:gd name="connsiteY99" fmla="*/ 197974 h 1426070"/>
                <a:gd name="connsiteX100" fmla="*/ 106298 w 323902"/>
                <a:gd name="connsiteY100" fmla="*/ 197075 h 1426070"/>
                <a:gd name="connsiteX101" fmla="*/ 84705 w 323902"/>
                <a:gd name="connsiteY101" fmla="*/ 205622 h 1426070"/>
                <a:gd name="connsiteX102" fmla="*/ 36119 w 323902"/>
                <a:gd name="connsiteY102" fmla="*/ 230815 h 1426070"/>
                <a:gd name="connsiteX103" fmla="*/ 9128 w 323902"/>
                <a:gd name="connsiteY103" fmla="*/ 283448 h 1426070"/>
                <a:gd name="connsiteX104" fmla="*/ 9578 w 323902"/>
                <a:gd name="connsiteY104" fmla="*/ 354527 h 1426070"/>
                <a:gd name="connsiteX105" fmla="*/ 4179 w 323902"/>
                <a:gd name="connsiteY105" fmla="*/ 405362 h 1426070"/>
                <a:gd name="connsiteX106" fmla="*/ 84255 w 323902"/>
                <a:gd name="connsiteY106" fmla="*/ 507481 h 1426070"/>
                <a:gd name="connsiteX107" fmla="*/ 84255 w 323902"/>
                <a:gd name="connsiteY107" fmla="*/ 507481 h 1426070"/>
                <a:gd name="connsiteX108" fmla="*/ 84255 w 323902"/>
                <a:gd name="connsiteY108" fmla="*/ 507481 h 1426070"/>
                <a:gd name="connsiteX109" fmla="*/ 84255 w 323902"/>
                <a:gd name="connsiteY109" fmla="*/ 507481 h 1426070"/>
                <a:gd name="connsiteX110" fmla="*/ 84255 w 323902"/>
                <a:gd name="connsiteY110" fmla="*/ 507481 h 1426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323902" h="1426070">
                  <a:moveTo>
                    <a:pt x="4179" y="405362"/>
                  </a:moveTo>
                  <a:cubicBezTo>
                    <a:pt x="1480" y="422007"/>
                    <a:pt x="-3019" y="435053"/>
                    <a:pt x="14526" y="474641"/>
                  </a:cubicBezTo>
                  <a:cubicBezTo>
                    <a:pt x="14526" y="474641"/>
                    <a:pt x="14526" y="476440"/>
                    <a:pt x="15875" y="478690"/>
                  </a:cubicBezTo>
                  <a:cubicBezTo>
                    <a:pt x="16326" y="480489"/>
                    <a:pt x="25773" y="500283"/>
                    <a:pt x="31621" y="502983"/>
                  </a:cubicBezTo>
                  <a:cubicBezTo>
                    <a:pt x="37469" y="505682"/>
                    <a:pt x="43317" y="509731"/>
                    <a:pt x="47816" y="505232"/>
                  </a:cubicBezTo>
                  <a:cubicBezTo>
                    <a:pt x="51415" y="501633"/>
                    <a:pt x="55463" y="498484"/>
                    <a:pt x="58613" y="496235"/>
                  </a:cubicBezTo>
                  <a:cubicBezTo>
                    <a:pt x="59512" y="497584"/>
                    <a:pt x="60862" y="499833"/>
                    <a:pt x="62211" y="501633"/>
                  </a:cubicBezTo>
                  <a:cubicBezTo>
                    <a:pt x="62211" y="501633"/>
                    <a:pt x="62211" y="501633"/>
                    <a:pt x="62211" y="501633"/>
                  </a:cubicBezTo>
                  <a:cubicBezTo>
                    <a:pt x="62211" y="502083"/>
                    <a:pt x="62211" y="502533"/>
                    <a:pt x="62661" y="503432"/>
                  </a:cubicBezTo>
                  <a:cubicBezTo>
                    <a:pt x="62661" y="503432"/>
                    <a:pt x="75258" y="512430"/>
                    <a:pt x="77507" y="513329"/>
                  </a:cubicBezTo>
                  <a:cubicBezTo>
                    <a:pt x="76607" y="515129"/>
                    <a:pt x="76157" y="516928"/>
                    <a:pt x="74808" y="518728"/>
                  </a:cubicBezTo>
                  <a:cubicBezTo>
                    <a:pt x="71209" y="523226"/>
                    <a:pt x="68959" y="527275"/>
                    <a:pt x="68959" y="533123"/>
                  </a:cubicBezTo>
                  <a:cubicBezTo>
                    <a:pt x="68959" y="537622"/>
                    <a:pt x="71659" y="540321"/>
                    <a:pt x="70759" y="544820"/>
                  </a:cubicBezTo>
                  <a:cubicBezTo>
                    <a:pt x="70309" y="545720"/>
                    <a:pt x="69409" y="547519"/>
                    <a:pt x="68510" y="549319"/>
                  </a:cubicBezTo>
                  <a:cubicBezTo>
                    <a:pt x="68510" y="549319"/>
                    <a:pt x="68510" y="549768"/>
                    <a:pt x="68060" y="549768"/>
                  </a:cubicBezTo>
                  <a:cubicBezTo>
                    <a:pt x="62211" y="557866"/>
                    <a:pt x="45567" y="598354"/>
                    <a:pt x="45567" y="659535"/>
                  </a:cubicBezTo>
                  <a:cubicBezTo>
                    <a:pt x="45567" y="720717"/>
                    <a:pt x="43317" y="830034"/>
                    <a:pt x="41968" y="848928"/>
                  </a:cubicBezTo>
                  <a:cubicBezTo>
                    <a:pt x="41968" y="848928"/>
                    <a:pt x="40618" y="859275"/>
                    <a:pt x="46466" y="862874"/>
                  </a:cubicBezTo>
                  <a:cubicBezTo>
                    <a:pt x="46466" y="862874"/>
                    <a:pt x="56813" y="869622"/>
                    <a:pt x="77507" y="868722"/>
                  </a:cubicBezTo>
                  <a:cubicBezTo>
                    <a:pt x="83805" y="888966"/>
                    <a:pt x="94152" y="929904"/>
                    <a:pt x="98201" y="987486"/>
                  </a:cubicBezTo>
                  <a:cubicBezTo>
                    <a:pt x="99100" y="1001432"/>
                    <a:pt x="75707" y="1034722"/>
                    <a:pt x="60862" y="1081958"/>
                  </a:cubicBezTo>
                  <a:cubicBezTo>
                    <a:pt x="46466" y="1129194"/>
                    <a:pt x="49166" y="1193525"/>
                    <a:pt x="52315" y="1226814"/>
                  </a:cubicBezTo>
                  <a:cubicBezTo>
                    <a:pt x="55014" y="1260105"/>
                    <a:pt x="59063" y="1273601"/>
                    <a:pt x="53664" y="1287996"/>
                  </a:cubicBezTo>
                  <a:cubicBezTo>
                    <a:pt x="48716" y="1302392"/>
                    <a:pt x="45117" y="1325335"/>
                    <a:pt x="41968" y="1329384"/>
                  </a:cubicBezTo>
                  <a:cubicBezTo>
                    <a:pt x="41068" y="1330283"/>
                    <a:pt x="39718" y="1332533"/>
                    <a:pt x="37469" y="1335232"/>
                  </a:cubicBezTo>
                  <a:cubicBezTo>
                    <a:pt x="30721" y="1344229"/>
                    <a:pt x="19924" y="1361324"/>
                    <a:pt x="23523" y="1373020"/>
                  </a:cubicBezTo>
                  <a:cubicBezTo>
                    <a:pt x="28472" y="1388316"/>
                    <a:pt x="39718" y="1404511"/>
                    <a:pt x="37469" y="1426104"/>
                  </a:cubicBezTo>
                  <a:lnTo>
                    <a:pt x="45567" y="1428354"/>
                  </a:lnTo>
                  <a:cubicBezTo>
                    <a:pt x="45567" y="1428354"/>
                    <a:pt x="46916" y="1419806"/>
                    <a:pt x="52315" y="1420256"/>
                  </a:cubicBezTo>
                  <a:cubicBezTo>
                    <a:pt x="57263" y="1421156"/>
                    <a:pt x="67610" y="1425205"/>
                    <a:pt x="75707" y="1427454"/>
                  </a:cubicBezTo>
                  <a:cubicBezTo>
                    <a:pt x="83805" y="1429704"/>
                    <a:pt x="132391" y="1427454"/>
                    <a:pt x="132391" y="1427454"/>
                  </a:cubicBezTo>
                  <a:cubicBezTo>
                    <a:pt x="132391" y="1427454"/>
                    <a:pt x="148586" y="1417107"/>
                    <a:pt x="149036" y="1413059"/>
                  </a:cubicBezTo>
                  <a:cubicBezTo>
                    <a:pt x="149935" y="1408560"/>
                    <a:pt x="139588" y="1402262"/>
                    <a:pt x="133740" y="1396863"/>
                  </a:cubicBezTo>
                  <a:cubicBezTo>
                    <a:pt x="131491" y="1395064"/>
                    <a:pt x="128342" y="1392815"/>
                    <a:pt x="124743" y="1390115"/>
                  </a:cubicBezTo>
                  <a:cubicBezTo>
                    <a:pt x="119344" y="1386067"/>
                    <a:pt x="113946" y="1380668"/>
                    <a:pt x="111247" y="1372121"/>
                  </a:cubicBezTo>
                  <a:cubicBezTo>
                    <a:pt x="106748" y="1358175"/>
                    <a:pt x="97301" y="1319937"/>
                    <a:pt x="98201" y="1278999"/>
                  </a:cubicBezTo>
                  <a:cubicBezTo>
                    <a:pt x="99100" y="1238061"/>
                    <a:pt x="125643" y="1164733"/>
                    <a:pt x="131041" y="1141340"/>
                  </a:cubicBezTo>
                  <a:cubicBezTo>
                    <a:pt x="135989" y="1117947"/>
                    <a:pt x="140488" y="1084657"/>
                    <a:pt x="144087" y="1077909"/>
                  </a:cubicBezTo>
                  <a:cubicBezTo>
                    <a:pt x="147686" y="1071161"/>
                    <a:pt x="156683" y="1049568"/>
                    <a:pt x="159382" y="1046419"/>
                  </a:cubicBezTo>
                  <a:cubicBezTo>
                    <a:pt x="162081" y="1043720"/>
                    <a:pt x="164331" y="1050918"/>
                    <a:pt x="162081" y="1059015"/>
                  </a:cubicBezTo>
                  <a:cubicBezTo>
                    <a:pt x="159832" y="1067113"/>
                    <a:pt x="150385" y="1126045"/>
                    <a:pt x="151285" y="1154386"/>
                  </a:cubicBezTo>
                  <a:cubicBezTo>
                    <a:pt x="152184" y="1182728"/>
                    <a:pt x="150385" y="1256506"/>
                    <a:pt x="149935" y="1278999"/>
                  </a:cubicBezTo>
                  <a:cubicBezTo>
                    <a:pt x="149036" y="1301492"/>
                    <a:pt x="147236" y="1318137"/>
                    <a:pt x="141388" y="1327134"/>
                  </a:cubicBezTo>
                  <a:cubicBezTo>
                    <a:pt x="139588" y="1329384"/>
                    <a:pt x="137789" y="1332983"/>
                    <a:pt x="135989" y="1336582"/>
                  </a:cubicBezTo>
                  <a:cubicBezTo>
                    <a:pt x="130591" y="1346928"/>
                    <a:pt x="126092" y="1360874"/>
                    <a:pt x="130591" y="1371221"/>
                  </a:cubicBezTo>
                  <a:cubicBezTo>
                    <a:pt x="137339" y="1385617"/>
                    <a:pt x="150385" y="1400912"/>
                    <a:pt x="153084" y="1421606"/>
                  </a:cubicBezTo>
                  <a:lnTo>
                    <a:pt x="164781" y="1422956"/>
                  </a:lnTo>
                  <a:cubicBezTo>
                    <a:pt x="164781" y="1422956"/>
                    <a:pt x="164781" y="1415758"/>
                    <a:pt x="167030" y="1416208"/>
                  </a:cubicBezTo>
                  <a:cubicBezTo>
                    <a:pt x="169279" y="1417107"/>
                    <a:pt x="169279" y="1422956"/>
                    <a:pt x="179626" y="1423405"/>
                  </a:cubicBezTo>
                  <a:cubicBezTo>
                    <a:pt x="189973" y="1424305"/>
                    <a:pt x="230011" y="1422506"/>
                    <a:pt x="231810" y="1423405"/>
                  </a:cubicBezTo>
                  <a:cubicBezTo>
                    <a:pt x="234060" y="1424305"/>
                    <a:pt x="239008" y="1420706"/>
                    <a:pt x="239908" y="1415308"/>
                  </a:cubicBezTo>
                  <a:cubicBezTo>
                    <a:pt x="240358" y="1410809"/>
                    <a:pt x="222363" y="1398213"/>
                    <a:pt x="215165" y="1387866"/>
                  </a:cubicBezTo>
                  <a:cubicBezTo>
                    <a:pt x="214716" y="1386966"/>
                    <a:pt x="213816" y="1386067"/>
                    <a:pt x="213366" y="1385167"/>
                  </a:cubicBezTo>
                  <a:cubicBezTo>
                    <a:pt x="208417" y="1374820"/>
                    <a:pt x="194472" y="1356825"/>
                    <a:pt x="195372" y="1331183"/>
                  </a:cubicBezTo>
                  <a:cubicBezTo>
                    <a:pt x="196271" y="1305541"/>
                    <a:pt x="197621" y="1281698"/>
                    <a:pt x="213366" y="1204321"/>
                  </a:cubicBezTo>
                  <a:cubicBezTo>
                    <a:pt x="229561" y="1126945"/>
                    <a:pt x="236759" y="1111199"/>
                    <a:pt x="233610" y="1048668"/>
                  </a:cubicBezTo>
                  <a:cubicBezTo>
                    <a:pt x="233610" y="1048668"/>
                    <a:pt x="236309" y="1032473"/>
                    <a:pt x="239458" y="1020327"/>
                  </a:cubicBezTo>
                  <a:cubicBezTo>
                    <a:pt x="242157" y="1007730"/>
                    <a:pt x="238109" y="997834"/>
                    <a:pt x="242157" y="987037"/>
                  </a:cubicBezTo>
                  <a:cubicBezTo>
                    <a:pt x="246206" y="977140"/>
                    <a:pt x="263301" y="915958"/>
                    <a:pt x="269599" y="890766"/>
                  </a:cubicBezTo>
                  <a:cubicBezTo>
                    <a:pt x="270049" y="890766"/>
                    <a:pt x="270499" y="890766"/>
                    <a:pt x="271398" y="890766"/>
                  </a:cubicBezTo>
                  <a:cubicBezTo>
                    <a:pt x="279046" y="892115"/>
                    <a:pt x="294791" y="893465"/>
                    <a:pt x="303789" y="889416"/>
                  </a:cubicBezTo>
                  <a:cubicBezTo>
                    <a:pt x="303789" y="889416"/>
                    <a:pt x="302889" y="879069"/>
                    <a:pt x="301539" y="846679"/>
                  </a:cubicBezTo>
                  <a:cubicBezTo>
                    <a:pt x="301090" y="836332"/>
                    <a:pt x="301090" y="818787"/>
                    <a:pt x="301090" y="798094"/>
                  </a:cubicBezTo>
                  <a:cubicBezTo>
                    <a:pt x="310987" y="793145"/>
                    <a:pt x="315485" y="790446"/>
                    <a:pt x="318185" y="787297"/>
                  </a:cubicBezTo>
                  <a:cubicBezTo>
                    <a:pt x="321334" y="782798"/>
                    <a:pt x="322233" y="775151"/>
                    <a:pt x="320884" y="771102"/>
                  </a:cubicBezTo>
                  <a:cubicBezTo>
                    <a:pt x="319984" y="766603"/>
                    <a:pt x="320884" y="759855"/>
                    <a:pt x="321783" y="758056"/>
                  </a:cubicBezTo>
                  <a:cubicBezTo>
                    <a:pt x="322683" y="756256"/>
                    <a:pt x="325382" y="752207"/>
                    <a:pt x="324483" y="748159"/>
                  </a:cubicBezTo>
                  <a:cubicBezTo>
                    <a:pt x="323583" y="744110"/>
                    <a:pt x="322683" y="735562"/>
                    <a:pt x="322233" y="723416"/>
                  </a:cubicBezTo>
                  <a:cubicBezTo>
                    <a:pt x="321783" y="711270"/>
                    <a:pt x="322233" y="675281"/>
                    <a:pt x="322233" y="675281"/>
                  </a:cubicBezTo>
                  <a:cubicBezTo>
                    <a:pt x="318634" y="664484"/>
                    <a:pt x="312786" y="644240"/>
                    <a:pt x="309637" y="628495"/>
                  </a:cubicBezTo>
                  <a:cubicBezTo>
                    <a:pt x="306488" y="612749"/>
                    <a:pt x="301090" y="577210"/>
                    <a:pt x="301090" y="577210"/>
                  </a:cubicBezTo>
                  <a:cubicBezTo>
                    <a:pt x="299290" y="570012"/>
                    <a:pt x="299290" y="562364"/>
                    <a:pt x="299740" y="557866"/>
                  </a:cubicBezTo>
                  <a:cubicBezTo>
                    <a:pt x="300640" y="558316"/>
                    <a:pt x="303789" y="559216"/>
                    <a:pt x="301090" y="546619"/>
                  </a:cubicBezTo>
                  <a:cubicBezTo>
                    <a:pt x="298390" y="531774"/>
                    <a:pt x="296141" y="525026"/>
                    <a:pt x="295242" y="521427"/>
                  </a:cubicBezTo>
                  <a:cubicBezTo>
                    <a:pt x="294342" y="517828"/>
                    <a:pt x="297941" y="516479"/>
                    <a:pt x="298390" y="512879"/>
                  </a:cubicBezTo>
                  <a:cubicBezTo>
                    <a:pt x="299290" y="509731"/>
                    <a:pt x="297491" y="504332"/>
                    <a:pt x="295691" y="495785"/>
                  </a:cubicBezTo>
                  <a:cubicBezTo>
                    <a:pt x="293892" y="487237"/>
                    <a:pt x="296591" y="418858"/>
                    <a:pt x="297941" y="395915"/>
                  </a:cubicBezTo>
                  <a:cubicBezTo>
                    <a:pt x="298840" y="373421"/>
                    <a:pt x="302889" y="327535"/>
                    <a:pt x="298840" y="314039"/>
                  </a:cubicBezTo>
                  <a:cubicBezTo>
                    <a:pt x="295242" y="300544"/>
                    <a:pt x="262401" y="262755"/>
                    <a:pt x="244407" y="244760"/>
                  </a:cubicBezTo>
                  <a:cubicBezTo>
                    <a:pt x="239458" y="239812"/>
                    <a:pt x="243957" y="237563"/>
                    <a:pt x="243957" y="237563"/>
                  </a:cubicBezTo>
                  <a:cubicBezTo>
                    <a:pt x="244857" y="234863"/>
                    <a:pt x="267800" y="272652"/>
                    <a:pt x="240358" y="227215"/>
                  </a:cubicBezTo>
                  <a:cubicBezTo>
                    <a:pt x="234960" y="218668"/>
                    <a:pt x="235409" y="202023"/>
                    <a:pt x="234060" y="198874"/>
                  </a:cubicBezTo>
                  <a:cubicBezTo>
                    <a:pt x="233160" y="195725"/>
                    <a:pt x="237659" y="196175"/>
                    <a:pt x="237659" y="196175"/>
                  </a:cubicBezTo>
                  <a:cubicBezTo>
                    <a:pt x="244857" y="195725"/>
                    <a:pt x="248455" y="194825"/>
                    <a:pt x="251605" y="192126"/>
                  </a:cubicBezTo>
                  <a:cubicBezTo>
                    <a:pt x="254304" y="189427"/>
                    <a:pt x="254304" y="185828"/>
                    <a:pt x="253404" y="180430"/>
                  </a:cubicBezTo>
                  <a:cubicBezTo>
                    <a:pt x="252504" y="175031"/>
                    <a:pt x="256553" y="170083"/>
                    <a:pt x="258353" y="167834"/>
                  </a:cubicBezTo>
                  <a:cubicBezTo>
                    <a:pt x="260152" y="166034"/>
                    <a:pt x="261052" y="161985"/>
                    <a:pt x="261052" y="159736"/>
                  </a:cubicBezTo>
                  <a:cubicBezTo>
                    <a:pt x="261052" y="157486"/>
                    <a:pt x="263751" y="151188"/>
                    <a:pt x="263751" y="151188"/>
                  </a:cubicBezTo>
                  <a:cubicBezTo>
                    <a:pt x="269599" y="138142"/>
                    <a:pt x="270499" y="133194"/>
                    <a:pt x="270499" y="125096"/>
                  </a:cubicBezTo>
                  <a:cubicBezTo>
                    <a:pt x="270499" y="116999"/>
                    <a:pt x="267800" y="112050"/>
                    <a:pt x="267800" y="108451"/>
                  </a:cubicBezTo>
                  <a:cubicBezTo>
                    <a:pt x="267800" y="104852"/>
                    <a:pt x="270049" y="98104"/>
                    <a:pt x="270049" y="98104"/>
                  </a:cubicBezTo>
                  <a:cubicBezTo>
                    <a:pt x="271398" y="90007"/>
                    <a:pt x="269149" y="80560"/>
                    <a:pt x="269149" y="80560"/>
                  </a:cubicBezTo>
                  <a:cubicBezTo>
                    <a:pt x="266450" y="73362"/>
                    <a:pt x="267800" y="59416"/>
                    <a:pt x="267800" y="59416"/>
                  </a:cubicBezTo>
                  <a:cubicBezTo>
                    <a:pt x="269149" y="49969"/>
                    <a:pt x="266450" y="41871"/>
                    <a:pt x="266450" y="41871"/>
                  </a:cubicBezTo>
                  <a:cubicBezTo>
                    <a:pt x="256103" y="25676"/>
                    <a:pt x="226412" y="9931"/>
                    <a:pt x="226412" y="9931"/>
                  </a:cubicBezTo>
                  <a:cubicBezTo>
                    <a:pt x="173328" y="-11213"/>
                    <a:pt x="142737" y="11280"/>
                    <a:pt x="124293" y="39172"/>
                  </a:cubicBezTo>
                  <a:cubicBezTo>
                    <a:pt x="106298" y="66614"/>
                    <a:pt x="108997" y="96755"/>
                    <a:pt x="106748" y="110701"/>
                  </a:cubicBezTo>
                  <a:cubicBezTo>
                    <a:pt x="104499" y="124646"/>
                    <a:pt x="94152" y="162435"/>
                    <a:pt x="97301" y="179080"/>
                  </a:cubicBezTo>
                  <a:cubicBezTo>
                    <a:pt x="100000" y="195725"/>
                    <a:pt x="100000" y="196625"/>
                    <a:pt x="100000" y="196625"/>
                  </a:cubicBezTo>
                  <a:cubicBezTo>
                    <a:pt x="103599" y="193926"/>
                    <a:pt x="106298" y="194825"/>
                    <a:pt x="108548" y="197974"/>
                  </a:cubicBezTo>
                  <a:cubicBezTo>
                    <a:pt x="107648" y="197524"/>
                    <a:pt x="106748" y="197524"/>
                    <a:pt x="106298" y="197075"/>
                  </a:cubicBezTo>
                  <a:cubicBezTo>
                    <a:pt x="97751" y="193026"/>
                    <a:pt x="89203" y="206072"/>
                    <a:pt x="84705" y="205622"/>
                  </a:cubicBezTo>
                  <a:cubicBezTo>
                    <a:pt x="80206" y="205172"/>
                    <a:pt x="59063" y="208321"/>
                    <a:pt x="36119" y="230815"/>
                  </a:cubicBezTo>
                  <a:cubicBezTo>
                    <a:pt x="12726" y="252858"/>
                    <a:pt x="4629" y="269953"/>
                    <a:pt x="9128" y="283448"/>
                  </a:cubicBezTo>
                  <a:cubicBezTo>
                    <a:pt x="13626" y="296944"/>
                    <a:pt x="10927" y="325736"/>
                    <a:pt x="9578" y="354527"/>
                  </a:cubicBezTo>
                  <a:cubicBezTo>
                    <a:pt x="8678" y="384668"/>
                    <a:pt x="6878" y="388717"/>
                    <a:pt x="4179" y="405362"/>
                  </a:cubicBezTo>
                  <a:close/>
                  <a:moveTo>
                    <a:pt x="84255" y="507481"/>
                  </a:moveTo>
                  <a:lnTo>
                    <a:pt x="84255" y="507481"/>
                  </a:lnTo>
                  <a:lnTo>
                    <a:pt x="84255" y="507481"/>
                  </a:lnTo>
                  <a:lnTo>
                    <a:pt x="84255" y="507481"/>
                  </a:lnTo>
                  <a:lnTo>
                    <a:pt x="84255" y="507481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A51CF339-C603-479A-AF28-6F4F78902466}"/>
                </a:ext>
              </a:extLst>
            </p:cNvPr>
            <p:cNvSpPr/>
            <p:nvPr/>
          </p:nvSpPr>
          <p:spPr>
            <a:xfrm>
              <a:off x="7428333" y="4176685"/>
              <a:ext cx="696609" cy="2077390"/>
            </a:xfrm>
            <a:custGeom>
              <a:avLst/>
              <a:gdLst>
                <a:gd name="connsiteX0" fmla="*/ 4637 w 503848"/>
                <a:gd name="connsiteY0" fmla="*/ 521636 h 1502547"/>
                <a:gd name="connsiteX1" fmla="*/ 10935 w 503848"/>
                <a:gd name="connsiteY1" fmla="*/ 523435 h 1502547"/>
                <a:gd name="connsiteX2" fmla="*/ 42876 w 503848"/>
                <a:gd name="connsiteY2" fmla="*/ 524335 h 1502547"/>
                <a:gd name="connsiteX3" fmla="*/ 43325 w 503848"/>
                <a:gd name="connsiteY3" fmla="*/ 529734 h 1502547"/>
                <a:gd name="connsiteX4" fmla="*/ 47374 w 503848"/>
                <a:gd name="connsiteY4" fmla="*/ 558075 h 1502547"/>
                <a:gd name="connsiteX5" fmla="*/ 56821 w 503848"/>
                <a:gd name="connsiteY5" fmla="*/ 578769 h 1502547"/>
                <a:gd name="connsiteX6" fmla="*/ 78415 w 503848"/>
                <a:gd name="connsiteY6" fmla="*/ 600812 h 1502547"/>
                <a:gd name="connsiteX7" fmla="*/ 88312 w 503848"/>
                <a:gd name="connsiteY7" fmla="*/ 608010 h 1502547"/>
                <a:gd name="connsiteX8" fmla="*/ 108106 w 503848"/>
                <a:gd name="connsiteY8" fmla="*/ 617457 h 1502547"/>
                <a:gd name="connsiteX9" fmla="*/ 113954 w 503848"/>
                <a:gd name="connsiteY9" fmla="*/ 616557 h 1502547"/>
                <a:gd name="connsiteX10" fmla="*/ 103157 w 503848"/>
                <a:gd name="connsiteY10" fmla="*/ 638151 h 1502547"/>
                <a:gd name="connsiteX11" fmla="*/ 86962 w 503848"/>
                <a:gd name="connsiteY11" fmla="*/ 682687 h 1502547"/>
                <a:gd name="connsiteX12" fmla="*/ 76615 w 503848"/>
                <a:gd name="connsiteY12" fmla="*/ 806850 h 1502547"/>
                <a:gd name="connsiteX13" fmla="*/ 83363 w 503848"/>
                <a:gd name="connsiteY13" fmla="*/ 852736 h 1502547"/>
                <a:gd name="connsiteX14" fmla="*/ 92810 w 503848"/>
                <a:gd name="connsiteY14" fmla="*/ 984097 h 1502547"/>
                <a:gd name="connsiteX15" fmla="*/ 104057 w 503848"/>
                <a:gd name="connsiteY15" fmla="*/ 1063723 h 1502547"/>
                <a:gd name="connsiteX16" fmla="*/ 106306 w 503848"/>
                <a:gd name="connsiteY16" fmla="*/ 1098362 h 1502547"/>
                <a:gd name="connsiteX17" fmla="*/ 107656 w 503848"/>
                <a:gd name="connsiteY17" fmla="*/ 1116807 h 1502547"/>
                <a:gd name="connsiteX18" fmla="*/ 105407 w 503848"/>
                <a:gd name="connsiteY18" fmla="*/ 1167641 h 1502547"/>
                <a:gd name="connsiteX19" fmla="*/ 105407 w 503848"/>
                <a:gd name="connsiteY19" fmla="*/ 1269761 h 1502547"/>
                <a:gd name="connsiteX20" fmla="*/ 115754 w 503848"/>
                <a:gd name="connsiteY20" fmla="*/ 1362882 h 1502547"/>
                <a:gd name="connsiteX21" fmla="*/ 122502 w 503848"/>
                <a:gd name="connsiteY21" fmla="*/ 1381327 h 1502547"/>
                <a:gd name="connsiteX22" fmla="*/ 104057 w 503848"/>
                <a:gd name="connsiteY22" fmla="*/ 1412368 h 1502547"/>
                <a:gd name="connsiteX23" fmla="*/ 101808 w 503848"/>
                <a:gd name="connsiteY23" fmla="*/ 1442059 h 1502547"/>
                <a:gd name="connsiteX24" fmla="*/ 86962 w 503848"/>
                <a:gd name="connsiteY24" fmla="*/ 1459154 h 1502547"/>
                <a:gd name="connsiteX25" fmla="*/ 53672 w 503848"/>
                <a:gd name="connsiteY25" fmla="*/ 1466351 h 1502547"/>
                <a:gd name="connsiteX26" fmla="*/ 47824 w 503848"/>
                <a:gd name="connsiteY26" fmla="*/ 1477598 h 1502547"/>
                <a:gd name="connsiteX27" fmla="*/ 43325 w 503848"/>
                <a:gd name="connsiteY27" fmla="*/ 1485696 h 1502547"/>
                <a:gd name="connsiteX28" fmla="*/ 75716 w 503848"/>
                <a:gd name="connsiteY28" fmla="*/ 1497392 h 1502547"/>
                <a:gd name="connsiteX29" fmla="*/ 198979 w 503848"/>
                <a:gd name="connsiteY29" fmla="*/ 1497392 h 1502547"/>
                <a:gd name="connsiteX30" fmla="*/ 207976 w 503848"/>
                <a:gd name="connsiteY30" fmla="*/ 1496043 h 1502547"/>
                <a:gd name="connsiteX31" fmla="*/ 207076 w 503848"/>
                <a:gd name="connsiteY31" fmla="*/ 1473099 h 1502547"/>
                <a:gd name="connsiteX32" fmla="*/ 204827 w 503848"/>
                <a:gd name="connsiteY32" fmla="*/ 1461403 h 1502547"/>
                <a:gd name="connsiteX33" fmla="*/ 211125 w 503848"/>
                <a:gd name="connsiteY33" fmla="*/ 1445208 h 1502547"/>
                <a:gd name="connsiteX34" fmla="*/ 215623 w 503848"/>
                <a:gd name="connsiteY34" fmla="*/ 1430362 h 1502547"/>
                <a:gd name="connsiteX35" fmla="*/ 216973 w 503848"/>
                <a:gd name="connsiteY35" fmla="*/ 1421365 h 1502547"/>
                <a:gd name="connsiteX36" fmla="*/ 216523 w 503848"/>
                <a:gd name="connsiteY36" fmla="*/ 1412368 h 1502547"/>
                <a:gd name="connsiteX37" fmla="*/ 214274 w 503848"/>
                <a:gd name="connsiteY37" fmla="*/ 1383576 h 1502547"/>
                <a:gd name="connsiteX38" fmla="*/ 207976 w 503848"/>
                <a:gd name="connsiteY38" fmla="*/ 1361083 h 1502547"/>
                <a:gd name="connsiteX39" fmla="*/ 204827 w 503848"/>
                <a:gd name="connsiteY39" fmla="*/ 1332742 h 1502547"/>
                <a:gd name="connsiteX40" fmla="*/ 212475 w 503848"/>
                <a:gd name="connsiteY40" fmla="*/ 1282807 h 1502547"/>
                <a:gd name="connsiteX41" fmla="*/ 223271 w 503848"/>
                <a:gd name="connsiteY41" fmla="*/ 1189685 h 1502547"/>
                <a:gd name="connsiteX42" fmla="*/ 225520 w 503848"/>
                <a:gd name="connsiteY42" fmla="*/ 1070021 h 1502547"/>
                <a:gd name="connsiteX43" fmla="*/ 243065 w 503848"/>
                <a:gd name="connsiteY43" fmla="*/ 899072 h 1502547"/>
                <a:gd name="connsiteX44" fmla="*/ 255212 w 503848"/>
                <a:gd name="connsiteY44" fmla="*/ 838340 h 1502547"/>
                <a:gd name="connsiteX45" fmla="*/ 253412 w 503848"/>
                <a:gd name="connsiteY45" fmla="*/ 843289 h 1502547"/>
                <a:gd name="connsiteX46" fmla="*/ 255212 w 503848"/>
                <a:gd name="connsiteY46" fmla="*/ 837891 h 1502547"/>
                <a:gd name="connsiteX47" fmla="*/ 255212 w 503848"/>
                <a:gd name="connsiteY47" fmla="*/ 838340 h 1502547"/>
                <a:gd name="connsiteX48" fmla="*/ 255212 w 503848"/>
                <a:gd name="connsiteY48" fmla="*/ 837441 h 1502547"/>
                <a:gd name="connsiteX49" fmla="*/ 255661 w 503848"/>
                <a:gd name="connsiteY49" fmla="*/ 836541 h 1502547"/>
                <a:gd name="connsiteX50" fmla="*/ 255661 w 503848"/>
                <a:gd name="connsiteY50" fmla="*/ 836541 h 1502547"/>
                <a:gd name="connsiteX51" fmla="*/ 255661 w 503848"/>
                <a:gd name="connsiteY51" fmla="*/ 836541 h 1502547"/>
                <a:gd name="connsiteX52" fmla="*/ 255661 w 503848"/>
                <a:gd name="connsiteY52" fmla="*/ 836541 h 1502547"/>
                <a:gd name="connsiteX53" fmla="*/ 255661 w 503848"/>
                <a:gd name="connsiteY53" fmla="*/ 836541 h 1502547"/>
                <a:gd name="connsiteX54" fmla="*/ 265108 w 503848"/>
                <a:gd name="connsiteY54" fmla="*/ 871181 h 1502547"/>
                <a:gd name="connsiteX55" fmla="*/ 281304 w 503848"/>
                <a:gd name="connsiteY55" fmla="*/ 977798 h 1502547"/>
                <a:gd name="connsiteX56" fmla="*/ 290301 w 503848"/>
                <a:gd name="connsiteY56" fmla="*/ 1006140 h 1502547"/>
                <a:gd name="connsiteX57" fmla="*/ 291201 w 503848"/>
                <a:gd name="connsiteY57" fmla="*/ 1010639 h 1502547"/>
                <a:gd name="connsiteX58" fmla="*/ 296599 w 503848"/>
                <a:gd name="connsiteY58" fmla="*/ 1039430 h 1502547"/>
                <a:gd name="connsiteX59" fmla="*/ 296599 w 503848"/>
                <a:gd name="connsiteY59" fmla="*/ 1040330 h 1502547"/>
                <a:gd name="connsiteX60" fmla="*/ 315044 w 503848"/>
                <a:gd name="connsiteY60" fmla="*/ 1173939 h 1502547"/>
                <a:gd name="connsiteX61" fmla="*/ 322241 w 503848"/>
                <a:gd name="connsiteY61" fmla="*/ 1285506 h 1502547"/>
                <a:gd name="connsiteX62" fmla="*/ 326290 w 503848"/>
                <a:gd name="connsiteY62" fmla="*/ 1337690 h 1502547"/>
                <a:gd name="connsiteX63" fmla="*/ 333938 w 503848"/>
                <a:gd name="connsiteY63" fmla="*/ 1395723 h 1502547"/>
                <a:gd name="connsiteX64" fmla="*/ 344735 w 503848"/>
                <a:gd name="connsiteY64" fmla="*/ 1429463 h 1502547"/>
                <a:gd name="connsiteX65" fmla="*/ 344735 w 503848"/>
                <a:gd name="connsiteY65" fmla="*/ 1432162 h 1502547"/>
                <a:gd name="connsiteX66" fmla="*/ 346984 w 503848"/>
                <a:gd name="connsiteY66" fmla="*/ 1446107 h 1502547"/>
                <a:gd name="connsiteX67" fmla="*/ 350133 w 503848"/>
                <a:gd name="connsiteY67" fmla="*/ 1449707 h 1502547"/>
                <a:gd name="connsiteX68" fmla="*/ 364529 w 503848"/>
                <a:gd name="connsiteY68" fmla="*/ 1465002 h 1502547"/>
                <a:gd name="connsiteX69" fmla="*/ 363629 w 503848"/>
                <a:gd name="connsiteY69" fmla="*/ 1473549 h 1502547"/>
                <a:gd name="connsiteX70" fmla="*/ 361829 w 503848"/>
                <a:gd name="connsiteY70" fmla="*/ 1487045 h 1502547"/>
                <a:gd name="connsiteX71" fmla="*/ 363179 w 503848"/>
                <a:gd name="connsiteY71" fmla="*/ 1500991 h 1502547"/>
                <a:gd name="connsiteX72" fmla="*/ 452702 w 503848"/>
                <a:gd name="connsiteY72" fmla="*/ 1501891 h 1502547"/>
                <a:gd name="connsiteX73" fmla="*/ 474296 w 503848"/>
                <a:gd name="connsiteY73" fmla="*/ 1469950 h 1502547"/>
                <a:gd name="connsiteX74" fmla="*/ 462599 w 503848"/>
                <a:gd name="connsiteY74" fmla="*/ 1455105 h 1502547"/>
                <a:gd name="connsiteX75" fmla="*/ 453602 w 503848"/>
                <a:gd name="connsiteY75" fmla="*/ 1438010 h 1502547"/>
                <a:gd name="connsiteX76" fmla="*/ 452702 w 503848"/>
                <a:gd name="connsiteY76" fmla="*/ 1403820 h 1502547"/>
                <a:gd name="connsiteX77" fmla="*/ 435607 w 503848"/>
                <a:gd name="connsiteY77" fmla="*/ 1375029 h 1502547"/>
                <a:gd name="connsiteX78" fmla="*/ 443705 w 503848"/>
                <a:gd name="connsiteY78" fmla="*/ 1258514 h 1502547"/>
                <a:gd name="connsiteX79" fmla="*/ 419862 w 503848"/>
                <a:gd name="connsiteY79" fmla="*/ 1103311 h 1502547"/>
                <a:gd name="connsiteX80" fmla="*/ 422111 w 503848"/>
                <a:gd name="connsiteY80" fmla="*/ 856785 h 1502547"/>
                <a:gd name="connsiteX81" fmla="*/ 405916 w 503848"/>
                <a:gd name="connsiteY81" fmla="*/ 688985 h 1502547"/>
                <a:gd name="connsiteX82" fmla="*/ 374876 w 503848"/>
                <a:gd name="connsiteY82" fmla="*/ 629153 h 1502547"/>
                <a:gd name="connsiteX83" fmla="*/ 369927 w 503848"/>
                <a:gd name="connsiteY83" fmla="*/ 607560 h 1502547"/>
                <a:gd name="connsiteX84" fmla="*/ 369027 w 503848"/>
                <a:gd name="connsiteY84" fmla="*/ 606660 h 1502547"/>
                <a:gd name="connsiteX85" fmla="*/ 369027 w 503848"/>
                <a:gd name="connsiteY85" fmla="*/ 605760 h 1502547"/>
                <a:gd name="connsiteX86" fmla="*/ 375775 w 503848"/>
                <a:gd name="connsiteY86" fmla="*/ 611159 h 1502547"/>
                <a:gd name="connsiteX87" fmla="*/ 375775 w 503848"/>
                <a:gd name="connsiteY87" fmla="*/ 621056 h 1502547"/>
                <a:gd name="connsiteX88" fmla="*/ 391970 w 503848"/>
                <a:gd name="connsiteY88" fmla="*/ 614308 h 1502547"/>
                <a:gd name="connsiteX89" fmla="*/ 375775 w 503848"/>
                <a:gd name="connsiteY89" fmla="*/ 576070 h 1502547"/>
                <a:gd name="connsiteX90" fmla="*/ 366778 w 503848"/>
                <a:gd name="connsiteY90" fmla="*/ 554026 h 1502547"/>
                <a:gd name="connsiteX91" fmla="*/ 369927 w 503848"/>
                <a:gd name="connsiteY91" fmla="*/ 537381 h 1502547"/>
                <a:gd name="connsiteX92" fmla="*/ 369927 w 503848"/>
                <a:gd name="connsiteY92" fmla="*/ 536931 h 1502547"/>
                <a:gd name="connsiteX93" fmla="*/ 371726 w 503848"/>
                <a:gd name="connsiteY93" fmla="*/ 536931 h 1502547"/>
                <a:gd name="connsiteX94" fmla="*/ 389721 w 503848"/>
                <a:gd name="connsiteY94" fmla="*/ 542779 h 1502547"/>
                <a:gd name="connsiteX95" fmla="*/ 423011 w 503848"/>
                <a:gd name="connsiteY95" fmla="*/ 543229 h 1502547"/>
                <a:gd name="connsiteX96" fmla="*/ 450903 w 503848"/>
                <a:gd name="connsiteY96" fmla="*/ 557625 h 1502547"/>
                <a:gd name="connsiteX97" fmla="*/ 489141 w 503848"/>
                <a:gd name="connsiteY97" fmla="*/ 540980 h 1502547"/>
                <a:gd name="connsiteX98" fmla="*/ 504436 w 503848"/>
                <a:gd name="connsiteY98" fmla="*/ 518487 h 1502547"/>
                <a:gd name="connsiteX99" fmla="*/ 481943 w 503848"/>
                <a:gd name="connsiteY99" fmla="*/ 454156 h 1502547"/>
                <a:gd name="connsiteX100" fmla="*/ 469797 w 503848"/>
                <a:gd name="connsiteY100" fmla="*/ 420416 h 1502547"/>
                <a:gd name="connsiteX101" fmla="*/ 441905 w 503848"/>
                <a:gd name="connsiteY101" fmla="*/ 372731 h 1502547"/>
                <a:gd name="connsiteX102" fmla="*/ 430659 w 503848"/>
                <a:gd name="connsiteY102" fmla="*/ 349338 h 1502547"/>
                <a:gd name="connsiteX103" fmla="*/ 418512 w 503848"/>
                <a:gd name="connsiteY103" fmla="*/ 325945 h 1502547"/>
                <a:gd name="connsiteX104" fmla="*/ 413114 w 503848"/>
                <a:gd name="connsiteY104" fmla="*/ 308400 h 1502547"/>
                <a:gd name="connsiteX105" fmla="*/ 373076 w 503848"/>
                <a:gd name="connsiteY105" fmla="*/ 275110 h 1502547"/>
                <a:gd name="connsiteX106" fmla="*/ 315044 w 503848"/>
                <a:gd name="connsiteY106" fmla="*/ 263414 h 1502547"/>
                <a:gd name="connsiteX107" fmla="*/ 286252 w 503848"/>
                <a:gd name="connsiteY107" fmla="*/ 244969 h 1502547"/>
                <a:gd name="connsiteX108" fmla="*/ 273656 w 503848"/>
                <a:gd name="connsiteY108" fmla="*/ 240021 h 1502547"/>
                <a:gd name="connsiteX109" fmla="*/ 271407 w 503848"/>
                <a:gd name="connsiteY109" fmla="*/ 238221 h 1502547"/>
                <a:gd name="connsiteX110" fmla="*/ 261060 w 503848"/>
                <a:gd name="connsiteY110" fmla="*/ 215728 h 1502547"/>
                <a:gd name="connsiteX111" fmla="*/ 256561 w 503848"/>
                <a:gd name="connsiteY111" fmla="*/ 206281 h 1502547"/>
                <a:gd name="connsiteX112" fmla="*/ 253412 w 503848"/>
                <a:gd name="connsiteY112" fmla="*/ 184687 h 1502547"/>
                <a:gd name="connsiteX113" fmla="*/ 254762 w 503848"/>
                <a:gd name="connsiteY113" fmla="*/ 167593 h 1502547"/>
                <a:gd name="connsiteX114" fmla="*/ 256111 w 503848"/>
                <a:gd name="connsiteY114" fmla="*/ 151397 h 1502547"/>
                <a:gd name="connsiteX115" fmla="*/ 265108 w 503848"/>
                <a:gd name="connsiteY115" fmla="*/ 137452 h 1502547"/>
                <a:gd name="connsiteX116" fmla="*/ 270957 w 503848"/>
                <a:gd name="connsiteY116" fmla="*/ 104161 h 1502547"/>
                <a:gd name="connsiteX117" fmla="*/ 263759 w 503848"/>
                <a:gd name="connsiteY117" fmla="*/ 101912 h 1502547"/>
                <a:gd name="connsiteX118" fmla="*/ 262409 w 503848"/>
                <a:gd name="connsiteY118" fmla="*/ 45679 h 1502547"/>
                <a:gd name="connsiteX119" fmla="*/ 222371 w 503848"/>
                <a:gd name="connsiteY119" fmla="*/ 6541 h 1502547"/>
                <a:gd name="connsiteX120" fmla="*/ 198529 w 503848"/>
                <a:gd name="connsiteY120" fmla="*/ 3392 h 1502547"/>
                <a:gd name="connsiteX121" fmla="*/ 154892 w 503848"/>
                <a:gd name="connsiteY121" fmla="*/ 18687 h 1502547"/>
                <a:gd name="connsiteX122" fmla="*/ 132848 w 503848"/>
                <a:gd name="connsiteY122" fmla="*/ 43880 h 1502547"/>
                <a:gd name="connsiteX123" fmla="*/ 132848 w 503848"/>
                <a:gd name="connsiteY123" fmla="*/ 99213 h 1502547"/>
                <a:gd name="connsiteX124" fmla="*/ 134198 w 503848"/>
                <a:gd name="connsiteY124" fmla="*/ 107311 h 1502547"/>
                <a:gd name="connsiteX125" fmla="*/ 126101 w 503848"/>
                <a:gd name="connsiteY125" fmla="*/ 106411 h 1502547"/>
                <a:gd name="connsiteX126" fmla="*/ 128350 w 503848"/>
                <a:gd name="connsiteY126" fmla="*/ 134302 h 1502547"/>
                <a:gd name="connsiteX127" fmla="*/ 143195 w 503848"/>
                <a:gd name="connsiteY127" fmla="*/ 151397 h 1502547"/>
                <a:gd name="connsiteX128" fmla="*/ 148144 w 503848"/>
                <a:gd name="connsiteY128" fmla="*/ 161744 h 1502547"/>
                <a:gd name="connsiteX129" fmla="*/ 162090 w 503848"/>
                <a:gd name="connsiteY129" fmla="*/ 206281 h 1502547"/>
                <a:gd name="connsiteX130" fmla="*/ 163439 w 503848"/>
                <a:gd name="connsiteY130" fmla="*/ 214378 h 1502547"/>
                <a:gd name="connsiteX131" fmla="*/ 158941 w 503848"/>
                <a:gd name="connsiteY131" fmla="*/ 210779 h 1502547"/>
                <a:gd name="connsiteX132" fmla="*/ 151293 w 503848"/>
                <a:gd name="connsiteY132" fmla="*/ 232373 h 1502547"/>
                <a:gd name="connsiteX133" fmla="*/ 127900 w 503848"/>
                <a:gd name="connsiteY133" fmla="*/ 244519 h 1502547"/>
                <a:gd name="connsiteX134" fmla="*/ 62669 w 503848"/>
                <a:gd name="connsiteY134" fmla="*/ 280059 h 1502547"/>
                <a:gd name="connsiteX135" fmla="*/ 39277 w 503848"/>
                <a:gd name="connsiteY135" fmla="*/ 298953 h 1502547"/>
                <a:gd name="connsiteX136" fmla="*/ 35678 w 503848"/>
                <a:gd name="connsiteY136" fmla="*/ 315598 h 1502547"/>
                <a:gd name="connsiteX137" fmla="*/ 10935 w 503848"/>
                <a:gd name="connsiteY137" fmla="*/ 316498 h 1502547"/>
                <a:gd name="connsiteX138" fmla="*/ 4637 w 503848"/>
                <a:gd name="connsiteY138" fmla="*/ 325945 h 1502547"/>
                <a:gd name="connsiteX139" fmla="*/ 8686 w 503848"/>
                <a:gd name="connsiteY139" fmla="*/ 507240 h 1502547"/>
                <a:gd name="connsiteX140" fmla="*/ 4187 w 503848"/>
                <a:gd name="connsiteY140" fmla="*/ 516238 h 1502547"/>
                <a:gd name="connsiteX141" fmla="*/ 4637 w 503848"/>
                <a:gd name="connsiteY141" fmla="*/ 521636 h 1502547"/>
                <a:gd name="connsiteX142" fmla="*/ 358681 w 503848"/>
                <a:gd name="connsiteY142" fmla="*/ 594514 h 1502547"/>
                <a:gd name="connsiteX143" fmla="*/ 369027 w 503848"/>
                <a:gd name="connsiteY143" fmla="*/ 602611 h 1502547"/>
                <a:gd name="connsiteX144" fmla="*/ 360030 w 503848"/>
                <a:gd name="connsiteY144" fmla="*/ 596313 h 1502547"/>
                <a:gd name="connsiteX145" fmla="*/ 351933 w 503848"/>
                <a:gd name="connsiteY145" fmla="*/ 596763 h 1502547"/>
                <a:gd name="connsiteX146" fmla="*/ 335288 w 503848"/>
                <a:gd name="connsiteY146" fmla="*/ 597663 h 1502547"/>
                <a:gd name="connsiteX147" fmla="*/ 358681 w 503848"/>
                <a:gd name="connsiteY147" fmla="*/ 594514 h 1502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503848" h="1502547">
                  <a:moveTo>
                    <a:pt x="4637" y="521636"/>
                  </a:moveTo>
                  <a:cubicBezTo>
                    <a:pt x="6886" y="523885"/>
                    <a:pt x="10935" y="523435"/>
                    <a:pt x="10935" y="523435"/>
                  </a:cubicBezTo>
                  <a:lnTo>
                    <a:pt x="42876" y="524335"/>
                  </a:lnTo>
                  <a:cubicBezTo>
                    <a:pt x="42876" y="527034"/>
                    <a:pt x="43325" y="528834"/>
                    <a:pt x="43325" y="529734"/>
                  </a:cubicBezTo>
                  <a:cubicBezTo>
                    <a:pt x="44225" y="538731"/>
                    <a:pt x="45125" y="549078"/>
                    <a:pt x="47374" y="558075"/>
                  </a:cubicBezTo>
                  <a:cubicBezTo>
                    <a:pt x="49624" y="567072"/>
                    <a:pt x="49174" y="572021"/>
                    <a:pt x="56821" y="578769"/>
                  </a:cubicBezTo>
                  <a:cubicBezTo>
                    <a:pt x="64469" y="585517"/>
                    <a:pt x="72117" y="595414"/>
                    <a:pt x="78415" y="600812"/>
                  </a:cubicBezTo>
                  <a:cubicBezTo>
                    <a:pt x="84713" y="606210"/>
                    <a:pt x="87862" y="606210"/>
                    <a:pt x="88312" y="608010"/>
                  </a:cubicBezTo>
                  <a:cubicBezTo>
                    <a:pt x="88762" y="609809"/>
                    <a:pt x="102258" y="617007"/>
                    <a:pt x="108106" y="617457"/>
                  </a:cubicBezTo>
                  <a:cubicBezTo>
                    <a:pt x="109455" y="617457"/>
                    <a:pt x="111255" y="617007"/>
                    <a:pt x="113954" y="616557"/>
                  </a:cubicBezTo>
                  <a:cubicBezTo>
                    <a:pt x="109006" y="621506"/>
                    <a:pt x="102258" y="630053"/>
                    <a:pt x="103157" y="638151"/>
                  </a:cubicBezTo>
                  <a:cubicBezTo>
                    <a:pt x="104507" y="649847"/>
                    <a:pt x="95960" y="661094"/>
                    <a:pt x="86962" y="682687"/>
                  </a:cubicBezTo>
                  <a:cubicBezTo>
                    <a:pt x="77965" y="704281"/>
                    <a:pt x="76615" y="770411"/>
                    <a:pt x="76615" y="806850"/>
                  </a:cubicBezTo>
                  <a:cubicBezTo>
                    <a:pt x="80214" y="821695"/>
                    <a:pt x="83813" y="826644"/>
                    <a:pt x="83363" y="852736"/>
                  </a:cubicBezTo>
                  <a:cubicBezTo>
                    <a:pt x="83363" y="852736"/>
                    <a:pt x="85613" y="938210"/>
                    <a:pt x="92810" y="984097"/>
                  </a:cubicBezTo>
                  <a:cubicBezTo>
                    <a:pt x="100008" y="1029983"/>
                    <a:pt x="104057" y="1053376"/>
                    <a:pt x="104057" y="1063723"/>
                  </a:cubicBezTo>
                  <a:cubicBezTo>
                    <a:pt x="104057" y="1074070"/>
                    <a:pt x="104057" y="1095663"/>
                    <a:pt x="106306" y="1098362"/>
                  </a:cubicBezTo>
                  <a:cubicBezTo>
                    <a:pt x="108556" y="1101511"/>
                    <a:pt x="109905" y="1105560"/>
                    <a:pt x="107656" y="1116807"/>
                  </a:cubicBezTo>
                  <a:cubicBezTo>
                    <a:pt x="105407" y="1128053"/>
                    <a:pt x="106306" y="1141999"/>
                    <a:pt x="105407" y="1167641"/>
                  </a:cubicBezTo>
                  <a:cubicBezTo>
                    <a:pt x="104507" y="1193284"/>
                    <a:pt x="103157" y="1230622"/>
                    <a:pt x="105407" y="1269761"/>
                  </a:cubicBezTo>
                  <a:cubicBezTo>
                    <a:pt x="107656" y="1308899"/>
                    <a:pt x="112605" y="1342189"/>
                    <a:pt x="115754" y="1362882"/>
                  </a:cubicBezTo>
                  <a:cubicBezTo>
                    <a:pt x="115754" y="1362882"/>
                    <a:pt x="121602" y="1374129"/>
                    <a:pt x="122502" y="1381327"/>
                  </a:cubicBezTo>
                  <a:cubicBezTo>
                    <a:pt x="123401" y="1388525"/>
                    <a:pt x="109905" y="1398422"/>
                    <a:pt x="104057" y="1412368"/>
                  </a:cubicBezTo>
                  <a:cubicBezTo>
                    <a:pt x="98209" y="1426314"/>
                    <a:pt x="100458" y="1439809"/>
                    <a:pt x="101808" y="1442059"/>
                  </a:cubicBezTo>
                  <a:cubicBezTo>
                    <a:pt x="103157" y="1444308"/>
                    <a:pt x="95060" y="1458254"/>
                    <a:pt x="86962" y="1459154"/>
                  </a:cubicBezTo>
                  <a:cubicBezTo>
                    <a:pt x="78865" y="1460053"/>
                    <a:pt x="59521" y="1460053"/>
                    <a:pt x="53672" y="1466351"/>
                  </a:cubicBezTo>
                  <a:cubicBezTo>
                    <a:pt x="47824" y="1473099"/>
                    <a:pt x="47824" y="1477598"/>
                    <a:pt x="47824" y="1477598"/>
                  </a:cubicBezTo>
                  <a:cubicBezTo>
                    <a:pt x="47824" y="1477598"/>
                    <a:pt x="37477" y="1480747"/>
                    <a:pt x="43325" y="1485696"/>
                  </a:cubicBezTo>
                  <a:cubicBezTo>
                    <a:pt x="49174" y="1490644"/>
                    <a:pt x="68968" y="1497392"/>
                    <a:pt x="75716" y="1497392"/>
                  </a:cubicBezTo>
                  <a:cubicBezTo>
                    <a:pt x="82464" y="1497392"/>
                    <a:pt x="198979" y="1497392"/>
                    <a:pt x="198979" y="1497392"/>
                  </a:cubicBezTo>
                  <a:lnTo>
                    <a:pt x="207976" y="1496043"/>
                  </a:lnTo>
                  <a:lnTo>
                    <a:pt x="207076" y="1473099"/>
                  </a:lnTo>
                  <a:cubicBezTo>
                    <a:pt x="207076" y="1473099"/>
                    <a:pt x="203927" y="1470850"/>
                    <a:pt x="204827" y="1461403"/>
                  </a:cubicBezTo>
                  <a:cubicBezTo>
                    <a:pt x="205727" y="1456454"/>
                    <a:pt x="208875" y="1451506"/>
                    <a:pt x="211125" y="1445208"/>
                  </a:cubicBezTo>
                  <a:cubicBezTo>
                    <a:pt x="213374" y="1440709"/>
                    <a:pt x="215174" y="1435761"/>
                    <a:pt x="215623" y="1430362"/>
                  </a:cubicBezTo>
                  <a:cubicBezTo>
                    <a:pt x="216073" y="1427663"/>
                    <a:pt x="216523" y="1424514"/>
                    <a:pt x="216973" y="1421365"/>
                  </a:cubicBezTo>
                  <a:cubicBezTo>
                    <a:pt x="216973" y="1418666"/>
                    <a:pt x="216973" y="1415517"/>
                    <a:pt x="216523" y="1412368"/>
                  </a:cubicBezTo>
                  <a:cubicBezTo>
                    <a:pt x="216973" y="1402021"/>
                    <a:pt x="216523" y="1391224"/>
                    <a:pt x="214274" y="1383576"/>
                  </a:cubicBezTo>
                  <a:cubicBezTo>
                    <a:pt x="212924" y="1378628"/>
                    <a:pt x="210225" y="1370980"/>
                    <a:pt x="207976" y="1361083"/>
                  </a:cubicBezTo>
                  <a:cubicBezTo>
                    <a:pt x="206176" y="1350736"/>
                    <a:pt x="204827" y="1340839"/>
                    <a:pt x="204827" y="1332742"/>
                  </a:cubicBezTo>
                  <a:cubicBezTo>
                    <a:pt x="204827" y="1321945"/>
                    <a:pt x="208426" y="1304400"/>
                    <a:pt x="212475" y="1282807"/>
                  </a:cubicBezTo>
                  <a:cubicBezTo>
                    <a:pt x="218323" y="1254915"/>
                    <a:pt x="224171" y="1220276"/>
                    <a:pt x="223271" y="1189685"/>
                  </a:cubicBezTo>
                  <a:cubicBezTo>
                    <a:pt x="222371" y="1147398"/>
                    <a:pt x="223271" y="1113658"/>
                    <a:pt x="225520" y="1070021"/>
                  </a:cubicBezTo>
                  <a:cubicBezTo>
                    <a:pt x="226870" y="1040780"/>
                    <a:pt x="234968" y="958454"/>
                    <a:pt x="243065" y="899072"/>
                  </a:cubicBezTo>
                  <a:cubicBezTo>
                    <a:pt x="248014" y="872080"/>
                    <a:pt x="253412" y="845538"/>
                    <a:pt x="255212" y="838340"/>
                  </a:cubicBezTo>
                  <a:cubicBezTo>
                    <a:pt x="254762" y="839690"/>
                    <a:pt x="254312" y="841040"/>
                    <a:pt x="253412" y="843289"/>
                  </a:cubicBezTo>
                  <a:cubicBezTo>
                    <a:pt x="253862" y="841040"/>
                    <a:pt x="254762" y="839240"/>
                    <a:pt x="255212" y="837891"/>
                  </a:cubicBezTo>
                  <a:cubicBezTo>
                    <a:pt x="255212" y="837891"/>
                    <a:pt x="255212" y="838340"/>
                    <a:pt x="255212" y="838340"/>
                  </a:cubicBezTo>
                  <a:cubicBezTo>
                    <a:pt x="255212" y="837891"/>
                    <a:pt x="255212" y="837891"/>
                    <a:pt x="255212" y="837441"/>
                  </a:cubicBezTo>
                  <a:cubicBezTo>
                    <a:pt x="255212" y="836991"/>
                    <a:pt x="255661" y="836991"/>
                    <a:pt x="255661" y="836541"/>
                  </a:cubicBezTo>
                  <a:cubicBezTo>
                    <a:pt x="255661" y="836541"/>
                    <a:pt x="255661" y="836541"/>
                    <a:pt x="255661" y="836541"/>
                  </a:cubicBezTo>
                  <a:cubicBezTo>
                    <a:pt x="255661" y="836541"/>
                    <a:pt x="255661" y="836541"/>
                    <a:pt x="255661" y="836541"/>
                  </a:cubicBezTo>
                  <a:cubicBezTo>
                    <a:pt x="255661" y="836541"/>
                    <a:pt x="255661" y="836541"/>
                    <a:pt x="255661" y="836541"/>
                  </a:cubicBezTo>
                  <a:cubicBezTo>
                    <a:pt x="255661" y="836541"/>
                    <a:pt x="255661" y="836541"/>
                    <a:pt x="255661" y="836541"/>
                  </a:cubicBezTo>
                  <a:cubicBezTo>
                    <a:pt x="256111" y="836991"/>
                    <a:pt x="258811" y="840140"/>
                    <a:pt x="265108" y="871181"/>
                  </a:cubicBezTo>
                  <a:cubicBezTo>
                    <a:pt x="268708" y="904021"/>
                    <a:pt x="278604" y="968801"/>
                    <a:pt x="281304" y="977798"/>
                  </a:cubicBezTo>
                  <a:cubicBezTo>
                    <a:pt x="283103" y="983197"/>
                    <a:pt x="286702" y="993544"/>
                    <a:pt x="290301" y="1006140"/>
                  </a:cubicBezTo>
                  <a:cubicBezTo>
                    <a:pt x="290751" y="1007489"/>
                    <a:pt x="290751" y="1008839"/>
                    <a:pt x="291201" y="1010639"/>
                  </a:cubicBezTo>
                  <a:cubicBezTo>
                    <a:pt x="293000" y="1017837"/>
                    <a:pt x="294800" y="1027733"/>
                    <a:pt x="296599" y="1039430"/>
                  </a:cubicBezTo>
                  <a:cubicBezTo>
                    <a:pt x="296599" y="1039880"/>
                    <a:pt x="296599" y="1039880"/>
                    <a:pt x="296599" y="1040330"/>
                  </a:cubicBezTo>
                  <a:cubicBezTo>
                    <a:pt x="298848" y="1065972"/>
                    <a:pt x="311445" y="1146048"/>
                    <a:pt x="315044" y="1173939"/>
                  </a:cubicBezTo>
                  <a:cubicBezTo>
                    <a:pt x="318642" y="1201831"/>
                    <a:pt x="322241" y="1263462"/>
                    <a:pt x="322241" y="1285506"/>
                  </a:cubicBezTo>
                  <a:cubicBezTo>
                    <a:pt x="322241" y="1295853"/>
                    <a:pt x="324041" y="1316546"/>
                    <a:pt x="326290" y="1337690"/>
                  </a:cubicBezTo>
                  <a:cubicBezTo>
                    <a:pt x="328090" y="1362882"/>
                    <a:pt x="330339" y="1385376"/>
                    <a:pt x="333938" y="1395723"/>
                  </a:cubicBezTo>
                  <a:cubicBezTo>
                    <a:pt x="337537" y="1411918"/>
                    <a:pt x="343835" y="1419566"/>
                    <a:pt x="344735" y="1429463"/>
                  </a:cubicBezTo>
                  <a:cubicBezTo>
                    <a:pt x="344735" y="1430362"/>
                    <a:pt x="344735" y="1431262"/>
                    <a:pt x="344735" y="1432162"/>
                  </a:cubicBezTo>
                  <a:cubicBezTo>
                    <a:pt x="344735" y="1440709"/>
                    <a:pt x="344285" y="1442509"/>
                    <a:pt x="346984" y="1446107"/>
                  </a:cubicBezTo>
                  <a:cubicBezTo>
                    <a:pt x="347884" y="1447457"/>
                    <a:pt x="348783" y="1448807"/>
                    <a:pt x="350133" y="1449707"/>
                  </a:cubicBezTo>
                  <a:cubicBezTo>
                    <a:pt x="355081" y="1455555"/>
                    <a:pt x="362729" y="1460953"/>
                    <a:pt x="364529" y="1465002"/>
                  </a:cubicBezTo>
                  <a:cubicBezTo>
                    <a:pt x="364529" y="1467251"/>
                    <a:pt x="364079" y="1470400"/>
                    <a:pt x="363629" y="1473549"/>
                  </a:cubicBezTo>
                  <a:cubicBezTo>
                    <a:pt x="362279" y="1478048"/>
                    <a:pt x="360930" y="1483446"/>
                    <a:pt x="361829" y="1487045"/>
                  </a:cubicBezTo>
                  <a:cubicBezTo>
                    <a:pt x="361380" y="1491544"/>
                    <a:pt x="363179" y="1500991"/>
                    <a:pt x="363179" y="1500991"/>
                  </a:cubicBezTo>
                  <a:cubicBezTo>
                    <a:pt x="363179" y="1500991"/>
                    <a:pt x="436507" y="1501891"/>
                    <a:pt x="452702" y="1501891"/>
                  </a:cubicBezTo>
                  <a:cubicBezTo>
                    <a:pt x="468897" y="1501891"/>
                    <a:pt x="488691" y="1501891"/>
                    <a:pt x="474296" y="1469950"/>
                  </a:cubicBezTo>
                  <a:cubicBezTo>
                    <a:pt x="474296" y="1469950"/>
                    <a:pt x="466198" y="1462752"/>
                    <a:pt x="462599" y="1455105"/>
                  </a:cubicBezTo>
                  <a:cubicBezTo>
                    <a:pt x="459000" y="1447907"/>
                    <a:pt x="453602" y="1440259"/>
                    <a:pt x="453602" y="1438010"/>
                  </a:cubicBezTo>
                  <a:cubicBezTo>
                    <a:pt x="453602" y="1435761"/>
                    <a:pt x="454951" y="1410118"/>
                    <a:pt x="452702" y="1403820"/>
                  </a:cubicBezTo>
                  <a:cubicBezTo>
                    <a:pt x="450453" y="1397972"/>
                    <a:pt x="439206" y="1388525"/>
                    <a:pt x="435607" y="1375029"/>
                  </a:cubicBezTo>
                  <a:cubicBezTo>
                    <a:pt x="432008" y="1361533"/>
                    <a:pt x="446854" y="1267961"/>
                    <a:pt x="443705" y="1258514"/>
                  </a:cubicBezTo>
                  <a:cubicBezTo>
                    <a:pt x="440556" y="1249067"/>
                    <a:pt x="421662" y="1159544"/>
                    <a:pt x="419862" y="1103311"/>
                  </a:cubicBezTo>
                  <a:cubicBezTo>
                    <a:pt x="418512" y="1047078"/>
                    <a:pt x="419862" y="900872"/>
                    <a:pt x="422111" y="856785"/>
                  </a:cubicBezTo>
                  <a:cubicBezTo>
                    <a:pt x="424361" y="812248"/>
                    <a:pt x="425260" y="731273"/>
                    <a:pt x="405916" y="688985"/>
                  </a:cubicBezTo>
                  <a:cubicBezTo>
                    <a:pt x="386572" y="646698"/>
                    <a:pt x="376225" y="637251"/>
                    <a:pt x="374876" y="629153"/>
                  </a:cubicBezTo>
                  <a:cubicBezTo>
                    <a:pt x="373526" y="621056"/>
                    <a:pt x="369927" y="607560"/>
                    <a:pt x="369927" y="607560"/>
                  </a:cubicBezTo>
                  <a:lnTo>
                    <a:pt x="369027" y="606660"/>
                  </a:lnTo>
                  <a:lnTo>
                    <a:pt x="369027" y="605760"/>
                  </a:lnTo>
                  <a:cubicBezTo>
                    <a:pt x="373976" y="608910"/>
                    <a:pt x="374426" y="608460"/>
                    <a:pt x="375775" y="611159"/>
                  </a:cubicBezTo>
                  <a:cubicBezTo>
                    <a:pt x="376675" y="613858"/>
                    <a:pt x="373526" y="620156"/>
                    <a:pt x="375775" y="621056"/>
                  </a:cubicBezTo>
                  <a:cubicBezTo>
                    <a:pt x="378025" y="621956"/>
                    <a:pt x="388371" y="628254"/>
                    <a:pt x="391970" y="614308"/>
                  </a:cubicBezTo>
                  <a:cubicBezTo>
                    <a:pt x="395119" y="600362"/>
                    <a:pt x="387922" y="589565"/>
                    <a:pt x="375775" y="576070"/>
                  </a:cubicBezTo>
                  <a:cubicBezTo>
                    <a:pt x="363629" y="562574"/>
                    <a:pt x="366328" y="561674"/>
                    <a:pt x="366778" y="554026"/>
                  </a:cubicBezTo>
                  <a:cubicBezTo>
                    <a:pt x="367228" y="546378"/>
                    <a:pt x="369027" y="540080"/>
                    <a:pt x="369927" y="537381"/>
                  </a:cubicBezTo>
                  <a:cubicBezTo>
                    <a:pt x="369927" y="537381"/>
                    <a:pt x="369927" y="537381"/>
                    <a:pt x="369927" y="536931"/>
                  </a:cubicBezTo>
                  <a:cubicBezTo>
                    <a:pt x="370827" y="536931"/>
                    <a:pt x="371277" y="536931"/>
                    <a:pt x="371726" y="536931"/>
                  </a:cubicBezTo>
                  <a:cubicBezTo>
                    <a:pt x="374876" y="537831"/>
                    <a:pt x="381624" y="542779"/>
                    <a:pt x="389721" y="542779"/>
                  </a:cubicBezTo>
                  <a:cubicBezTo>
                    <a:pt x="400068" y="542779"/>
                    <a:pt x="418512" y="540530"/>
                    <a:pt x="423011" y="543229"/>
                  </a:cubicBezTo>
                  <a:cubicBezTo>
                    <a:pt x="427510" y="545929"/>
                    <a:pt x="444605" y="557625"/>
                    <a:pt x="450903" y="557625"/>
                  </a:cubicBezTo>
                  <a:cubicBezTo>
                    <a:pt x="457201" y="557625"/>
                    <a:pt x="483743" y="543679"/>
                    <a:pt x="489141" y="540980"/>
                  </a:cubicBezTo>
                  <a:cubicBezTo>
                    <a:pt x="494539" y="538281"/>
                    <a:pt x="503987" y="525685"/>
                    <a:pt x="504436" y="518487"/>
                  </a:cubicBezTo>
                  <a:cubicBezTo>
                    <a:pt x="504887" y="511289"/>
                    <a:pt x="485092" y="466302"/>
                    <a:pt x="481943" y="454156"/>
                  </a:cubicBezTo>
                  <a:cubicBezTo>
                    <a:pt x="478794" y="442010"/>
                    <a:pt x="484193" y="441560"/>
                    <a:pt x="469797" y="420416"/>
                  </a:cubicBezTo>
                  <a:cubicBezTo>
                    <a:pt x="455401" y="399273"/>
                    <a:pt x="449103" y="384877"/>
                    <a:pt x="441905" y="372731"/>
                  </a:cubicBezTo>
                  <a:cubicBezTo>
                    <a:pt x="434707" y="360584"/>
                    <a:pt x="431558" y="353836"/>
                    <a:pt x="430659" y="349338"/>
                  </a:cubicBezTo>
                  <a:cubicBezTo>
                    <a:pt x="430209" y="344839"/>
                    <a:pt x="421212" y="332243"/>
                    <a:pt x="418512" y="325945"/>
                  </a:cubicBezTo>
                  <a:cubicBezTo>
                    <a:pt x="415813" y="319647"/>
                    <a:pt x="416713" y="316498"/>
                    <a:pt x="413114" y="308400"/>
                  </a:cubicBezTo>
                  <a:cubicBezTo>
                    <a:pt x="409065" y="300303"/>
                    <a:pt x="400968" y="287706"/>
                    <a:pt x="373076" y="275110"/>
                  </a:cubicBezTo>
                  <a:cubicBezTo>
                    <a:pt x="345185" y="262514"/>
                    <a:pt x="325840" y="268812"/>
                    <a:pt x="315044" y="263414"/>
                  </a:cubicBezTo>
                  <a:cubicBezTo>
                    <a:pt x="303797" y="258015"/>
                    <a:pt x="293900" y="248568"/>
                    <a:pt x="286252" y="244969"/>
                  </a:cubicBezTo>
                  <a:cubicBezTo>
                    <a:pt x="279954" y="242270"/>
                    <a:pt x="276355" y="241820"/>
                    <a:pt x="273656" y="240021"/>
                  </a:cubicBezTo>
                  <a:cubicBezTo>
                    <a:pt x="272756" y="239121"/>
                    <a:pt x="271856" y="238221"/>
                    <a:pt x="271407" y="238221"/>
                  </a:cubicBezTo>
                  <a:cubicBezTo>
                    <a:pt x="268258" y="235072"/>
                    <a:pt x="263759" y="221126"/>
                    <a:pt x="261060" y="215728"/>
                  </a:cubicBezTo>
                  <a:cubicBezTo>
                    <a:pt x="258361" y="210330"/>
                    <a:pt x="256561" y="206281"/>
                    <a:pt x="256561" y="206281"/>
                  </a:cubicBezTo>
                  <a:cubicBezTo>
                    <a:pt x="256561" y="206281"/>
                    <a:pt x="252063" y="208080"/>
                    <a:pt x="253412" y="184687"/>
                  </a:cubicBezTo>
                  <a:cubicBezTo>
                    <a:pt x="253412" y="184687"/>
                    <a:pt x="254762" y="174341"/>
                    <a:pt x="254762" y="167593"/>
                  </a:cubicBezTo>
                  <a:cubicBezTo>
                    <a:pt x="254762" y="160845"/>
                    <a:pt x="253412" y="154996"/>
                    <a:pt x="256111" y="151397"/>
                  </a:cubicBezTo>
                  <a:cubicBezTo>
                    <a:pt x="259260" y="147798"/>
                    <a:pt x="259710" y="144200"/>
                    <a:pt x="265108" y="137452"/>
                  </a:cubicBezTo>
                  <a:cubicBezTo>
                    <a:pt x="270057" y="130704"/>
                    <a:pt x="273656" y="107311"/>
                    <a:pt x="270957" y="104161"/>
                  </a:cubicBezTo>
                  <a:cubicBezTo>
                    <a:pt x="267358" y="99213"/>
                    <a:pt x="263759" y="105061"/>
                    <a:pt x="263759" y="101912"/>
                  </a:cubicBezTo>
                  <a:cubicBezTo>
                    <a:pt x="263759" y="98763"/>
                    <a:pt x="266008" y="51527"/>
                    <a:pt x="262409" y="45679"/>
                  </a:cubicBezTo>
                  <a:cubicBezTo>
                    <a:pt x="258811" y="39831"/>
                    <a:pt x="231369" y="10140"/>
                    <a:pt x="222371" y="6541"/>
                  </a:cubicBezTo>
                  <a:cubicBezTo>
                    <a:pt x="213374" y="2942"/>
                    <a:pt x="198529" y="3392"/>
                    <a:pt x="198529" y="3392"/>
                  </a:cubicBezTo>
                  <a:cubicBezTo>
                    <a:pt x="177835" y="5641"/>
                    <a:pt x="160290" y="10590"/>
                    <a:pt x="154892" y="18687"/>
                  </a:cubicBezTo>
                  <a:cubicBezTo>
                    <a:pt x="149494" y="26785"/>
                    <a:pt x="135098" y="38031"/>
                    <a:pt x="132848" y="43880"/>
                  </a:cubicBezTo>
                  <a:cubicBezTo>
                    <a:pt x="130599" y="49728"/>
                    <a:pt x="126101" y="81668"/>
                    <a:pt x="132848" y="99213"/>
                  </a:cubicBezTo>
                  <a:lnTo>
                    <a:pt x="134198" y="107311"/>
                  </a:lnTo>
                  <a:cubicBezTo>
                    <a:pt x="131049" y="108210"/>
                    <a:pt x="129699" y="102812"/>
                    <a:pt x="126101" y="106411"/>
                  </a:cubicBezTo>
                  <a:cubicBezTo>
                    <a:pt x="122052" y="110460"/>
                    <a:pt x="126101" y="128454"/>
                    <a:pt x="128350" y="134302"/>
                  </a:cubicBezTo>
                  <a:cubicBezTo>
                    <a:pt x="130599" y="140151"/>
                    <a:pt x="138697" y="149148"/>
                    <a:pt x="143195" y="151397"/>
                  </a:cubicBezTo>
                  <a:cubicBezTo>
                    <a:pt x="147694" y="153647"/>
                    <a:pt x="147694" y="157245"/>
                    <a:pt x="148144" y="161744"/>
                  </a:cubicBezTo>
                  <a:cubicBezTo>
                    <a:pt x="149043" y="166243"/>
                    <a:pt x="150393" y="184687"/>
                    <a:pt x="162090" y="206281"/>
                  </a:cubicBezTo>
                  <a:cubicBezTo>
                    <a:pt x="162090" y="206281"/>
                    <a:pt x="163439" y="211229"/>
                    <a:pt x="163439" y="214378"/>
                  </a:cubicBezTo>
                  <a:cubicBezTo>
                    <a:pt x="163439" y="214828"/>
                    <a:pt x="159840" y="212129"/>
                    <a:pt x="158941" y="210779"/>
                  </a:cubicBezTo>
                  <a:cubicBezTo>
                    <a:pt x="158041" y="215278"/>
                    <a:pt x="152193" y="229674"/>
                    <a:pt x="151293" y="232373"/>
                  </a:cubicBezTo>
                  <a:cubicBezTo>
                    <a:pt x="150393" y="235522"/>
                    <a:pt x="132398" y="237771"/>
                    <a:pt x="127900" y="244519"/>
                  </a:cubicBezTo>
                  <a:cubicBezTo>
                    <a:pt x="123401" y="251267"/>
                    <a:pt x="83813" y="264313"/>
                    <a:pt x="62669" y="280059"/>
                  </a:cubicBezTo>
                  <a:cubicBezTo>
                    <a:pt x="62669" y="280059"/>
                    <a:pt x="41976" y="292655"/>
                    <a:pt x="39277" y="298953"/>
                  </a:cubicBezTo>
                  <a:cubicBezTo>
                    <a:pt x="37477" y="302552"/>
                    <a:pt x="36128" y="309750"/>
                    <a:pt x="35678" y="315598"/>
                  </a:cubicBezTo>
                  <a:cubicBezTo>
                    <a:pt x="20382" y="316048"/>
                    <a:pt x="10935" y="316498"/>
                    <a:pt x="10935" y="316498"/>
                  </a:cubicBezTo>
                  <a:cubicBezTo>
                    <a:pt x="3288" y="319197"/>
                    <a:pt x="4637" y="325945"/>
                    <a:pt x="4637" y="325945"/>
                  </a:cubicBezTo>
                  <a:lnTo>
                    <a:pt x="8686" y="507240"/>
                  </a:lnTo>
                  <a:cubicBezTo>
                    <a:pt x="8686" y="507240"/>
                    <a:pt x="6436" y="513538"/>
                    <a:pt x="4187" y="516238"/>
                  </a:cubicBezTo>
                  <a:cubicBezTo>
                    <a:pt x="3737" y="516687"/>
                    <a:pt x="2388" y="519386"/>
                    <a:pt x="4637" y="521636"/>
                  </a:cubicBezTo>
                  <a:close/>
                  <a:moveTo>
                    <a:pt x="358681" y="594514"/>
                  </a:moveTo>
                  <a:cubicBezTo>
                    <a:pt x="360930" y="594514"/>
                    <a:pt x="364079" y="599463"/>
                    <a:pt x="369027" y="602611"/>
                  </a:cubicBezTo>
                  <a:lnTo>
                    <a:pt x="360030" y="596313"/>
                  </a:lnTo>
                  <a:cubicBezTo>
                    <a:pt x="360030" y="596313"/>
                    <a:pt x="356881" y="596313"/>
                    <a:pt x="351933" y="596763"/>
                  </a:cubicBezTo>
                  <a:cubicBezTo>
                    <a:pt x="347884" y="597213"/>
                    <a:pt x="342035" y="597213"/>
                    <a:pt x="335288" y="597663"/>
                  </a:cubicBezTo>
                  <a:cubicBezTo>
                    <a:pt x="349233" y="595863"/>
                    <a:pt x="357331" y="594514"/>
                    <a:pt x="358681" y="594514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6CB32140-12F5-4D09-8415-2CF548B47073}"/>
                </a:ext>
              </a:extLst>
            </p:cNvPr>
            <p:cNvSpPr/>
            <p:nvPr/>
          </p:nvSpPr>
          <p:spPr>
            <a:xfrm>
              <a:off x="10196591" y="4338956"/>
              <a:ext cx="559776" cy="1928116"/>
            </a:xfrm>
            <a:custGeom>
              <a:avLst/>
              <a:gdLst>
                <a:gd name="connsiteX0" fmla="*/ 380378 w 404878"/>
                <a:gd name="connsiteY0" fmla="*/ 1245514 h 1394580"/>
                <a:gd name="connsiteX1" fmla="*/ 379928 w 404878"/>
                <a:gd name="connsiteY1" fmla="*/ 1175785 h 1394580"/>
                <a:gd name="connsiteX2" fmla="*/ 368232 w 404878"/>
                <a:gd name="connsiteY2" fmla="*/ 978295 h 1394580"/>
                <a:gd name="connsiteX3" fmla="*/ 351587 w 404878"/>
                <a:gd name="connsiteY3" fmla="*/ 891920 h 1394580"/>
                <a:gd name="connsiteX4" fmla="*/ 356086 w 404878"/>
                <a:gd name="connsiteY4" fmla="*/ 802847 h 1394580"/>
                <a:gd name="connsiteX5" fmla="*/ 364633 w 404878"/>
                <a:gd name="connsiteY5" fmla="*/ 799698 h 1394580"/>
                <a:gd name="connsiteX6" fmla="*/ 382177 w 404878"/>
                <a:gd name="connsiteY6" fmla="*/ 669687 h 1394580"/>
                <a:gd name="connsiteX7" fmla="*/ 381728 w 404878"/>
                <a:gd name="connsiteY7" fmla="*/ 669687 h 1394580"/>
                <a:gd name="connsiteX8" fmla="*/ 385327 w 404878"/>
                <a:gd name="connsiteY8" fmla="*/ 626950 h 1394580"/>
                <a:gd name="connsiteX9" fmla="*/ 388476 w 404878"/>
                <a:gd name="connsiteY9" fmla="*/ 611205 h 1394580"/>
                <a:gd name="connsiteX10" fmla="*/ 383527 w 404878"/>
                <a:gd name="connsiteY10" fmla="*/ 587812 h 1394580"/>
                <a:gd name="connsiteX11" fmla="*/ 385327 w 404878"/>
                <a:gd name="connsiteY11" fmla="*/ 591861 h 1394580"/>
                <a:gd name="connsiteX12" fmla="*/ 374980 w 404878"/>
                <a:gd name="connsiteY12" fmla="*/ 522582 h 1394580"/>
                <a:gd name="connsiteX13" fmla="*/ 366883 w 404878"/>
                <a:gd name="connsiteY13" fmla="*/ 460500 h 1394580"/>
                <a:gd name="connsiteX14" fmla="*/ 357435 w 404878"/>
                <a:gd name="connsiteY14" fmla="*/ 448354 h 1394580"/>
                <a:gd name="connsiteX15" fmla="*/ 362834 w 404878"/>
                <a:gd name="connsiteY15" fmla="*/ 410116 h 1394580"/>
                <a:gd name="connsiteX16" fmla="*/ 363283 w 404878"/>
                <a:gd name="connsiteY16" fmla="*/ 378625 h 1394580"/>
                <a:gd name="connsiteX17" fmla="*/ 367782 w 404878"/>
                <a:gd name="connsiteY17" fmla="*/ 344435 h 1394580"/>
                <a:gd name="connsiteX18" fmla="*/ 334492 w 404878"/>
                <a:gd name="connsiteY18" fmla="*/ 199579 h 1394580"/>
                <a:gd name="connsiteX19" fmla="*/ 319647 w 404878"/>
                <a:gd name="connsiteY19" fmla="*/ 201828 h 1394580"/>
                <a:gd name="connsiteX20" fmla="*/ 307950 w 404878"/>
                <a:gd name="connsiteY20" fmla="*/ 200029 h 1394580"/>
                <a:gd name="connsiteX21" fmla="*/ 290855 w 404878"/>
                <a:gd name="connsiteY21" fmla="*/ 187433 h 1394580"/>
                <a:gd name="connsiteX22" fmla="*/ 291755 w 404878"/>
                <a:gd name="connsiteY22" fmla="*/ 179785 h 1394580"/>
                <a:gd name="connsiteX23" fmla="*/ 300302 w 404878"/>
                <a:gd name="connsiteY23" fmla="*/ 178435 h 1394580"/>
                <a:gd name="connsiteX24" fmla="*/ 311999 w 404878"/>
                <a:gd name="connsiteY24" fmla="*/ 169438 h 1394580"/>
                <a:gd name="connsiteX25" fmla="*/ 323695 w 404878"/>
                <a:gd name="connsiteY25" fmla="*/ 163590 h 1394580"/>
                <a:gd name="connsiteX26" fmla="*/ 335392 w 404878"/>
                <a:gd name="connsiteY26" fmla="*/ 150994 h 1394580"/>
                <a:gd name="connsiteX27" fmla="*/ 352487 w 404878"/>
                <a:gd name="connsiteY27" fmla="*/ 53823 h 1394580"/>
                <a:gd name="connsiteX28" fmla="*/ 309300 w 404878"/>
                <a:gd name="connsiteY28" fmla="*/ 12435 h 1394580"/>
                <a:gd name="connsiteX29" fmla="*/ 290855 w 404878"/>
                <a:gd name="connsiteY29" fmla="*/ 8386 h 1394580"/>
                <a:gd name="connsiteX30" fmla="*/ 239571 w 404878"/>
                <a:gd name="connsiteY30" fmla="*/ 3888 h 1394580"/>
                <a:gd name="connsiteX31" fmla="*/ 184687 w 404878"/>
                <a:gd name="connsiteY31" fmla="*/ 42576 h 1394580"/>
                <a:gd name="connsiteX32" fmla="*/ 171191 w 404878"/>
                <a:gd name="connsiteY32" fmla="*/ 98359 h 1394580"/>
                <a:gd name="connsiteX33" fmla="*/ 175240 w 404878"/>
                <a:gd name="connsiteY33" fmla="*/ 117704 h 1394580"/>
                <a:gd name="connsiteX34" fmla="*/ 175690 w 404878"/>
                <a:gd name="connsiteY34" fmla="*/ 135698 h 1394580"/>
                <a:gd name="connsiteX35" fmla="*/ 182438 w 404878"/>
                <a:gd name="connsiteY35" fmla="*/ 168088 h 1394580"/>
                <a:gd name="connsiteX36" fmla="*/ 184237 w 404878"/>
                <a:gd name="connsiteY36" fmla="*/ 182034 h 1394580"/>
                <a:gd name="connsiteX37" fmla="*/ 210779 w 404878"/>
                <a:gd name="connsiteY37" fmla="*/ 196880 h 1394580"/>
                <a:gd name="connsiteX38" fmla="*/ 222476 w 404878"/>
                <a:gd name="connsiteY38" fmla="*/ 212175 h 1394580"/>
                <a:gd name="connsiteX39" fmla="*/ 217527 w 404878"/>
                <a:gd name="connsiteY39" fmla="*/ 240067 h 1394580"/>
                <a:gd name="connsiteX40" fmla="*/ 171641 w 404878"/>
                <a:gd name="connsiteY40" fmla="*/ 263460 h 1394580"/>
                <a:gd name="connsiteX41" fmla="*/ 145549 w 404878"/>
                <a:gd name="connsiteY41" fmla="*/ 303498 h 1394580"/>
                <a:gd name="connsiteX42" fmla="*/ 135202 w 404878"/>
                <a:gd name="connsiteY42" fmla="*/ 348934 h 1394580"/>
                <a:gd name="connsiteX43" fmla="*/ 95614 w 404878"/>
                <a:gd name="connsiteY43" fmla="*/ 376376 h 1394580"/>
                <a:gd name="connsiteX44" fmla="*/ 11039 w 404878"/>
                <a:gd name="connsiteY44" fmla="*/ 344435 h 1394580"/>
                <a:gd name="connsiteX45" fmla="*/ 7890 w 404878"/>
                <a:gd name="connsiteY45" fmla="*/ 349834 h 1394580"/>
                <a:gd name="connsiteX46" fmla="*/ 1592 w 404878"/>
                <a:gd name="connsiteY46" fmla="*/ 349384 h 1394580"/>
                <a:gd name="connsiteX47" fmla="*/ 113159 w 404878"/>
                <a:gd name="connsiteY47" fmla="*/ 445205 h 1394580"/>
                <a:gd name="connsiteX48" fmla="*/ 109110 w 404878"/>
                <a:gd name="connsiteY48" fmla="*/ 457801 h 1394580"/>
                <a:gd name="connsiteX49" fmla="*/ 105511 w 404878"/>
                <a:gd name="connsiteY49" fmla="*/ 478045 h 1394580"/>
                <a:gd name="connsiteX50" fmla="*/ 112259 w 404878"/>
                <a:gd name="connsiteY50" fmla="*/ 501888 h 1394580"/>
                <a:gd name="connsiteX51" fmla="*/ 123956 w 404878"/>
                <a:gd name="connsiteY51" fmla="*/ 517633 h 1394580"/>
                <a:gd name="connsiteX52" fmla="*/ 137452 w 404878"/>
                <a:gd name="connsiteY52" fmla="*/ 515834 h 1394580"/>
                <a:gd name="connsiteX53" fmla="*/ 156346 w 404878"/>
                <a:gd name="connsiteY53" fmla="*/ 504137 h 1394580"/>
                <a:gd name="connsiteX54" fmla="*/ 159045 w 404878"/>
                <a:gd name="connsiteY54" fmla="*/ 487042 h 1394580"/>
                <a:gd name="connsiteX55" fmla="*/ 166693 w 404878"/>
                <a:gd name="connsiteY55" fmla="*/ 485693 h 1394580"/>
                <a:gd name="connsiteX56" fmla="*/ 167143 w 404878"/>
                <a:gd name="connsiteY56" fmla="*/ 486143 h 1394580"/>
                <a:gd name="connsiteX57" fmla="*/ 167143 w 404878"/>
                <a:gd name="connsiteY57" fmla="*/ 486593 h 1394580"/>
                <a:gd name="connsiteX58" fmla="*/ 169392 w 404878"/>
                <a:gd name="connsiteY58" fmla="*/ 497389 h 1394580"/>
                <a:gd name="connsiteX59" fmla="*/ 168942 w 404878"/>
                <a:gd name="connsiteY59" fmla="*/ 509536 h 1394580"/>
                <a:gd name="connsiteX60" fmla="*/ 163543 w 404878"/>
                <a:gd name="connsiteY60" fmla="*/ 518533 h 1394580"/>
                <a:gd name="connsiteX61" fmla="*/ 165793 w 404878"/>
                <a:gd name="connsiteY61" fmla="*/ 539677 h 1394580"/>
                <a:gd name="connsiteX62" fmla="*/ 153647 w 404878"/>
                <a:gd name="connsiteY62" fmla="*/ 584663 h 1394580"/>
                <a:gd name="connsiteX63" fmla="*/ 147348 w 404878"/>
                <a:gd name="connsiteY63" fmla="*/ 613904 h 1394580"/>
                <a:gd name="connsiteX64" fmla="*/ 150497 w 404878"/>
                <a:gd name="connsiteY64" fmla="*/ 613454 h 1394580"/>
                <a:gd name="connsiteX65" fmla="*/ 149598 w 404878"/>
                <a:gd name="connsiteY65" fmla="*/ 613904 h 1394580"/>
                <a:gd name="connsiteX66" fmla="*/ 145099 w 404878"/>
                <a:gd name="connsiteY66" fmla="*/ 678235 h 1394580"/>
                <a:gd name="connsiteX67" fmla="*/ 145099 w 404878"/>
                <a:gd name="connsiteY67" fmla="*/ 678235 h 1394580"/>
                <a:gd name="connsiteX68" fmla="*/ 143749 w 404878"/>
                <a:gd name="connsiteY68" fmla="*/ 720072 h 1394580"/>
                <a:gd name="connsiteX69" fmla="*/ 143300 w 404878"/>
                <a:gd name="connsiteY69" fmla="*/ 742565 h 1394580"/>
                <a:gd name="connsiteX70" fmla="*/ 141050 w 404878"/>
                <a:gd name="connsiteY70" fmla="*/ 770457 h 1394580"/>
                <a:gd name="connsiteX71" fmla="*/ 141950 w 404878"/>
                <a:gd name="connsiteY71" fmla="*/ 770457 h 1394580"/>
                <a:gd name="connsiteX72" fmla="*/ 137001 w 404878"/>
                <a:gd name="connsiteY72" fmla="*/ 814094 h 1394580"/>
                <a:gd name="connsiteX73" fmla="*/ 155896 w 404878"/>
                <a:gd name="connsiteY73" fmla="*/ 817243 h 1394580"/>
                <a:gd name="connsiteX74" fmla="*/ 158595 w 404878"/>
                <a:gd name="connsiteY74" fmla="*/ 817243 h 1394580"/>
                <a:gd name="connsiteX75" fmla="*/ 170741 w 404878"/>
                <a:gd name="connsiteY75" fmla="*/ 869427 h 1394580"/>
                <a:gd name="connsiteX76" fmla="*/ 194134 w 404878"/>
                <a:gd name="connsiteY76" fmla="*/ 952202 h 1394580"/>
                <a:gd name="connsiteX77" fmla="*/ 195934 w 404878"/>
                <a:gd name="connsiteY77" fmla="*/ 979194 h 1394580"/>
                <a:gd name="connsiteX78" fmla="*/ 204031 w 404878"/>
                <a:gd name="connsiteY78" fmla="*/ 1002587 h 1394580"/>
                <a:gd name="connsiteX79" fmla="*/ 208980 w 404878"/>
                <a:gd name="connsiteY79" fmla="*/ 1097509 h 1394580"/>
                <a:gd name="connsiteX80" fmla="*/ 229674 w 404878"/>
                <a:gd name="connsiteY80" fmla="*/ 1254061 h 1394580"/>
                <a:gd name="connsiteX81" fmla="*/ 209880 w 404878"/>
                <a:gd name="connsiteY81" fmla="*/ 1344934 h 1394580"/>
                <a:gd name="connsiteX82" fmla="*/ 180639 w 404878"/>
                <a:gd name="connsiteY82" fmla="*/ 1353931 h 1394580"/>
                <a:gd name="connsiteX83" fmla="*/ 165793 w 404878"/>
                <a:gd name="connsiteY83" fmla="*/ 1364278 h 1394580"/>
                <a:gd name="connsiteX84" fmla="*/ 195934 w 404878"/>
                <a:gd name="connsiteY84" fmla="*/ 1389471 h 1394580"/>
                <a:gd name="connsiteX85" fmla="*/ 246768 w 404878"/>
                <a:gd name="connsiteY85" fmla="*/ 1383173 h 1394580"/>
                <a:gd name="connsiteX86" fmla="*/ 273760 w 404878"/>
                <a:gd name="connsiteY86" fmla="*/ 1326040 h 1394580"/>
                <a:gd name="connsiteX87" fmla="*/ 290855 w 404878"/>
                <a:gd name="connsiteY87" fmla="*/ 1325590 h 1394580"/>
                <a:gd name="connsiteX88" fmla="*/ 293105 w 404878"/>
                <a:gd name="connsiteY88" fmla="*/ 1342235 h 1394580"/>
                <a:gd name="connsiteX89" fmla="*/ 293105 w 404878"/>
                <a:gd name="connsiteY89" fmla="*/ 1345834 h 1394580"/>
                <a:gd name="connsiteX90" fmla="*/ 269711 w 404878"/>
                <a:gd name="connsiteY90" fmla="*/ 1357081 h 1394580"/>
                <a:gd name="connsiteX91" fmla="*/ 267912 w 404878"/>
                <a:gd name="connsiteY91" fmla="*/ 1375075 h 1394580"/>
                <a:gd name="connsiteX92" fmla="*/ 277809 w 404878"/>
                <a:gd name="connsiteY92" fmla="*/ 1389021 h 1394580"/>
                <a:gd name="connsiteX93" fmla="*/ 357435 w 404878"/>
                <a:gd name="connsiteY93" fmla="*/ 1388571 h 1394580"/>
                <a:gd name="connsiteX94" fmla="*/ 364183 w 404878"/>
                <a:gd name="connsiteY94" fmla="*/ 1365178 h 1394580"/>
                <a:gd name="connsiteX95" fmla="*/ 377229 w 404878"/>
                <a:gd name="connsiteY95" fmla="*/ 1332788 h 1394580"/>
                <a:gd name="connsiteX96" fmla="*/ 385777 w 404878"/>
                <a:gd name="connsiteY96" fmla="*/ 1349883 h 1394580"/>
                <a:gd name="connsiteX97" fmla="*/ 388925 w 404878"/>
                <a:gd name="connsiteY97" fmla="*/ 1386772 h 1394580"/>
                <a:gd name="connsiteX98" fmla="*/ 395673 w 404878"/>
                <a:gd name="connsiteY98" fmla="*/ 1386322 h 1394580"/>
                <a:gd name="connsiteX99" fmla="*/ 407370 w 404878"/>
                <a:gd name="connsiteY99" fmla="*/ 1288251 h 1394580"/>
                <a:gd name="connsiteX100" fmla="*/ 380378 w 404878"/>
                <a:gd name="connsiteY100" fmla="*/ 1245514 h 1394580"/>
                <a:gd name="connsiteX101" fmla="*/ 332243 w 404878"/>
                <a:gd name="connsiteY101" fmla="*/ 1222571 h 1394580"/>
                <a:gd name="connsiteX102" fmla="*/ 325495 w 404878"/>
                <a:gd name="connsiteY102" fmla="*/ 1256311 h 1394580"/>
                <a:gd name="connsiteX103" fmla="*/ 320546 w 404878"/>
                <a:gd name="connsiteY103" fmla="*/ 1298598 h 1394580"/>
                <a:gd name="connsiteX104" fmla="*/ 305701 w 404878"/>
                <a:gd name="connsiteY104" fmla="*/ 1324240 h 1394580"/>
                <a:gd name="connsiteX105" fmla="*/ 307950 w 404878"/>
                <a:gd name="connsiteY105" fmla="*/ 1286002 h 1394580"/>
                <a:gd name="connsiteX106" fmla="*/ 288156 w 404878"/>
                <a:gd name="connsiteY106" fmla="*/ 1254061 h 1394580"/>
                <a:gd name="connsiteX107" fmla="*/ 278259 w 404878"/>
                <a:gd name="connsiteY107" fmla="*/ 1215373 h 1394580"/>
                <a:gd name="connsiteX108" fmla="*/ 278259 w 404878"/>
                <a:gd name="connsiteY108" fmla="*/ 1127650 h 1394580"/>
                <a:gd name="connsiteX109" fmla="*/ 285457 w 404878"/>
                <a:gd name="connsiteY109" fmla="*/ 1070517 h 1394580"/>
                <a:gd name="connsiteX110" fmla="*/ 281858 w 404878"/>
                <a:gd name="connsiteY110" fmla="*/ 1031378 h 1394580"/>
                <a:gd name="connsiteX111" fmla="*/ 273760 w 404878"/>
                <a:gd name="connsiteY111" fmla="*/ 991340 h 1394580"/>
                <a:gd name="connsiteX112" fmla="*/ 276010 w 404878"/>
                <a:gd name="connsiteY112" fmla="*/ 971097 h 1394580"/>
                <a:gd name="connsiteX113" fmla="*/ 294454 w 404878"/>
                <a:gd name="connsiteY113" fmla="*/ 1007086 h 1394580"/>
                <a:gd name="connsiteX114" fmla="*/ 316947 w 404878"/>
                <a:gd name="connsiteY114" fmla="*/ 1101108 h 1394580"/>
                <a:gd name="connsiteX115" fmla="*/ 332243 w 404878"/>
                <a:gd name="connsiteY115" fmla="*/ 1222571 h 1394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404878" h="1394580">
                  <a:moveTo>
                    <a:pt x="380378" y="1245514"/>
                  </a:moveTo>
                  <a:cubicBezTo>
                    <a:pt x="380378" y="1245514"/>
                    <a:pt x="373180" y="1228419"/>
                    <a:pt x="379928" y="1175785"/>
                  </a:cubicBezTo>
                  <a:cubicBezTo>
                    <a:pt x="386676" y="1123151"/>
                    <a:pt x="389826" y="1044874"/>
                    <a:pt x="368232" y="978295"/>
                  </a:cubicBezTo>
                  <a:cubicBezTo>
                    <a:pt x="346639" y="911265"/>
                    <a:pt x="350237" y="907216"/>
                    <a:pt x="351587" y="891920"/>
                  </a:cubicBezTo>
                  <a:cubicBezTo>
                    <a:pt x="352936" y="876625"/>
                    <a:pt x="355636" y="805546"/>
                    <a:pt x="356086" y="802847"/>
                  </a:cubicBezTo>
                  <a:cubicBezTo>
                    <a:pt x="359684" y="801948"/>
                    <a:pt x="362384" y="800598"/>
                    <a:pt x="364633" y="799698"/>
                  </a:cubicBezTo>
                  <a:cubicBezTo>
                    <a:pt x="364633" y="799698"/>
                    <a:pt x="378129" y="718723"/>
                    <a:pt x="382177" y="669687"/>
                  </a:cubicBezTo>
                  <a:cubicBezTo>
                    <a:pt x="382177" y="669687"/>
                    <a:pt x="382177" y="669687"/>
                    <a:pt x="381728" y="669687"/>
                  </a:cubicBezTo>
                  <a:cubicBezTo>
                    <a:pt x="383527" y="652593"/>
                    <a:pt x="385327" y="636847"/>
                    <a:pt x="385327" y="626950"/>
                  </a:cubicBezTo>
                  <a:cubicBezTo>
                    <a:pt x="385327" y="626950"/>
                    <a:pt x="389826" y="618403"/>
                    <a:pt x="388476" y="611205"/>
                  </a:cubicBezTo>
                  <a:cubicBezTo>
                    <a:pt x="387126" y="604007"/>
                    <a:pt x="383078" y="594560"/>
                    <a:pt x="383527" y="587812"/>
                  </a:cubicBezTo>
                  <a:cubicBezTo>
                    <a:pt x="383527" y="587812"/>
                    <a:pt x="383977" y="594560"/>
                    <a:pt x="385327" y="591861"/>
                  </a:cubicBezTo>
                  <a:cubicBezTo>
                    <a:pt x="386676" y="589611"/>
                    <a:pt x="380828" y="546425"/>
                    <a:pt x="374980" y="522582"/>
                  </a:cubicBezTo>
                  <a:cubicBezTo>
                    <a:pt x="368682" y="498739"/>
                    <a:pt x="366883" y="460500"/>
                    <a:pt x="366883" y="460500"/>
                  </a:cubicBezTo>
                  <a:cubicBezTo>
                    <a:pt x="365533" y="452853"/>
                    <a:pt x="355636" y="459151"/>
                    <a:pt x="357435" y="448354"/>
                  </a:cubicBezTo>
                  <a:cubicBezTo>
                    <a:pt x="359235" y="437557"/>
                    <a:pt x="362384" y="421362"/>
                    <a:pt x="362834" y="410116"/>
                  </a:cubicBezTo>
                  <a:cubicBezTo>
                    <a:pt x="363283" y="398869"/>
                    <a:pt x="365982" y="386723"/>
                    <a:pt x="363283" y="378625"/>
                  </a:cubicBezTo>
                  <a:cubicBezTo>
                    <a:pt x="361034" y="370078"/>
                    <a:pt x="363283" y="358381"/>
                    <a:pt x="367782" y="344435"/>
                  </a:cubicBezTo>
                  <a:cubicBezTo>
                    <a:pt x="372281" y="330490"/>
                    <a:pt x="408270" y="199129"/>
                    <a:pt x="334492" y="199579"/>
                  </a:cubicBezTo>
                  <a:cubicBezTo>
                    <a:pt x="334492" y="199579"/>
                    <a:pt x="327294" y="200929"/>
                    <a:pt x="319647" y="201828"/>
                  </a:cubicBezTo>
                  <a:cubicBezTo>
                    <a:pt x="316048" y="201828"/>
                    <a:pt x="311999" y="201378"/>
                    <a:pt x="307950" y="200029"/>
                  </a:cubicBezTo>
                  <a:cubicBezTo>
                    <a:pt x="298053" y="196880"/>
                    <a:pt x="291755" y="195080"/>
                    <a:pt x="290855" y="187433"/>
                  </a:cubicBezTo>
                  <a:cubicBezTo>
                    <a:pt x="290406" y="185183"/>
                    <a:pt x="290855" y="182484"/>
                    <a:pt x="291755" y="179785"/>
                  </a:cubicBezTo>
                  <a:cubicBezTo>
                    <a:pt x="294004" y="178885"/>
                    <a:pt x="296253" y="179335"/>
                    <a:pt x="300302" y="178435"/>
                  </a:cubicBezTo>
                  <a:cubicBezTo>
                    <a:pt x="304351" y="177086"/>
                    <a:pt x="308400" y="170788"/>
                    <a:pt x="311999" y="169438"/>
                  </a:cubicBezTo>
                  <a:cubicBezTo>
                    <a:pt x="315148" y="167639"/>
                    <a:pt x="318747" y="166289"/>
                    <a:pt x="323695" y="163590"/>
                  </a:cubicBezTo>
                  <a:cubicBezTo>
                    <a:pt x="328644" y="160891"/>
                    <a:pt x="329544" y="159541"/>
                    <a:pt x="335392" y="150994"/>
                  </a:cubicBezTo>
                  <a:cubicBezTo>
                    <a:pt x="359235" y="124452"/>
                    <a:pt x="361484" y="89812"/>
                    <a:pt x="352487" y="53823"/>
                  </a:cubicBezTo>
                  <a:cubicBezTo>
                    <a:pt x="343489" y="16934"/>
                    <a:pt x="313798" y="12435"/>
                    <a:pt x="309300" y="12435"/>
                  </a:cubicBezTo>
                  <a:cubicBezTo>
                    <a:pt x="304801" y="12435"/>
                    <a:pt x="298503" y="11986"/>
                    <a:pt x="290855" y="8386"/>
                  </a:cubicBezTo>
                  <a:cubicBezTo>
                    <a:pt x="283658" y="4788"/>
                    <a:pt x="264763" y="-1960"/>
                    <a:pt x="239571" y="3888"/>
                  </a:cubicBezTo>
                  <a:cubicBezTo>
                    <a:pt x="214378" y="9736"/>
                    <a:pt x="199982" y="22782"/>
                    <a:pt x="184687" y="42576"/>
                  </a:cubicBezTo>
                  <a:cubicBezTo>
                    <a:pt x="169392" y="62820"/>
                    <a:pt x="166243" y="81265"/>
                    <a:pt x="171191" y="98359"/>
                  </a:cubicBezTo>
                  <a:cubicBezTo>
                    <a:pt x="175690" y="113655"/>
                    <a:pt x="172990" y="113655"/>
                    <a:pt x="175240" y="117704"/>
                  </a:cubicBezTo>
                  <a:cubicBezTo>
                    <a:pt x="177489" y="121752"/>
                    <a:pt x="178389" y="117254"/>
                    <a:pt x="175690" y="135698"/>
                  </a:cubicBezTo>
                  <a:cubicBezTo>
                    <a:pt x="172990" y="151444"/>
                    <a:pt x="178839" y="160891"/>
                    <a:pt x="182438" y="168088"/>
                  </a:cubicBezTo>
                  <a:cubicBezTo>
                    <a:pt x="182438" y="171237"/>
                    <a:pt x="184687" y="177086"/>
                    <a:pt x="184237" y="182034"/>
                  </a:cubicBezTo>
                  <a:cubicBezTo>
                    <a:pt x="182438" y="201828"/>
                    <a:pt x="203132" y="196880"/>
                    <a:pt x="210779" y="196880"/>
                  </a:cubicBezTo>
                  <a:cubicBezTo>
                    <a:pt x="221126" y="196430"/>
                    <a:pt x="220677" y="204977"/>
                    <a:pt x="222476" y="212175"/>
                  </a:cubicBezTo>
                  <a:cubicBezTo>
                    <a:pt x="226075" y="226571"/>
                    <a:pt x="225625" y="230170"/>
                    <a:pt x="217527" y="240067"/>
                  </a:cubicBezTo>
                  <a:cubicBezTo>
                    <a:pt x="212129" y="246815"/>
                    <a:pt x="191435" y="256262"/>
                    <a:pt x="171641" y="263460"/>
                  </a:cubicBezTo>
                  <a:cubicBezTo>
                    <a:pt x="152297" y="270208"/>
                    <a:pt x="148698" y="291801"/>
                    <a:pt x="145549" y="303498"/>
                  </a:cubicBezTo>
                  <a:cubicBezTo>
                    <a:pt x="142850" y="313845"/>
                    <a:pt x="136552" y="341736"/>
                    <a:pt x="135202" y="348934"/>
                  </a:cubicBezTo>
                  <a:lnTo>
                    <a:pt x="95614" y="376376"/>
                  </a:lnTo>
                  <a:cubicBezTo>
                    <a:pt x="95614" y="376376"/>
                    <a:pt x="19137" y="350283"/>
                    <a:pt x="11039" y="344435"/>
                  </a:cubicBezTo>
                  <a:lnTo>
                    <a:pt x="7890" y="349834"/>
                  </a:lnTo>
                  <a:lnTo>
                    <a:pt x="1592" y="349384"/>
                  </a:lnTo>
                  <a:cubicBezTo>
                    <a:pt x="1592" y="349384"/>
                    <a:pt x="96514" y="433059"/>
                    <a:pt x="113159" y="445205"/>
                  </a:cubicBezTo>
                  <a:cubicBezTo>
                    <a:pt x="111809" y="448804"/>
                    <a:pt x="110009" y="452853"/>
                    <a:pt x="109110" y="457801"/>
                  </a:cubicBezTo>
                  <a:cubicBezTo>
                    <a:pt x="107310" y="465449"/>
                    <a:pt x="105961" y="472647"/>
                    <a:pt x="105511" y="478045"/>
                  </a:cubicBezTo>
                  <a:cubicBezTo>
                    <a:pt x="105061" y="486593"/>
                    <a:pt x="103712" y="491091"/>
                    <a:pt x="112259" y="501888"/>
                  </a:cubicBezTo>
                  <a:cubicBezTo>
                    <a:pt x="120357" y="513134"/>
                    <a:pt x="120357" y="517183"/>
                    <a:pt x="123956" y="517633"/>
                  </a:cubicBezTo>
                  <a:cubicBezTo>
                    <a:pt x="127554" y="518533"/>
                    <a:pt x="132053" y="519433"/>
                    <a:pt x="137452" y="515834"/>
                  </a:cubicBezTo>
                  <a:cubicBezTo>
                    <a:pt x="142850" y="511785"/>
                    <a:pt x="154546" y="509536"/>
                    <a:pt x="156346" y="504137"/>
                  </a:cubicBezTo>
                  <a:cubicBezTo>
                    <a:pt x="158595" y="495590"/>
                    <a:pt x="157696" y="490192"/>
                    <a:pt x="159045" y="487042"/>
                  </a:cubicBezTo>
                  <a:cubicBezTo>
                    <a:pt x="159045" y="487042"/>
                    <a:pt x="162644" y="486593"/>
                    <a:pt x="166693" y="485693"/>
                  </a:cubicBezTo>
                  <a:lnTo>
                    <a:pt x="167143" y="486143"/>
                  </a:lnTo>
                  <a:cubicBezTo>
                    <a:pt x="167143" y="486143"/>
                    <a:pt x="167143" y="486593"/>
                    <a:pt x="167143" y="486593"/>
                  </a:cubicBezTo>
                  <a:cubicBezTo>
                    <a:pt x="167592" y="493341"/>
                    <a:pt x="168492" y="490641"/>
                    <a:pt x="169392" y="497389"/>
                  </a:cubicBezTo>
                  <a:cubicBezTo>
                    <a:pt x="170741" y="504137"/>
                    <a:pt x="172541" y="503237"/>
                    <a:pt x="168942" y="509536"/>
                  </a:cubicBezTo>
                  <a:cubicBezTo>
                    <a:pt x="165343" y="515384"/>
                    <a:pt x="160395" y="512685"/>
                    <a:pt x="163543" y="518533"/>
                  </a:cubicBezTo>
                  <a:cubicBezTo>
                    <a:pt x="166693" y="524381"/>
                    <a:pt x="167143" y="534728"/>
                    <a:pt x="165793" y="539677"/>
                  </a:cubicBezTo>
                  <a:cubicBezTo>
                    <a:pt x="164443" y="544625"/>
                    <a:pt x="155896" y="570267"/>
                    <a:pt x="153647" y="584663"/>
                  </a:cubicBezTo>
                  <a:cubicBezTo>
                    <a:pt x="151397" y="599059"/>
                    <a:pt x="143300" y="612555"/>
                    <a:pt x="147348" y="613904"/>
                  </a:cubicBezTo>
                  <a:cubicBezTo>
                    <a:pt x="147798" y="613904"/>
                    <a:pt x="148698" y="613904"/>
                    <a:pt x="150497" y="613454"/>
                  </a:cubicBezTo>
                  <a:cubicBezTo>
                    <a:pt x="150047" y="613454"/>
                    <a:pt x="150047" y="613904"/>
                    <a:pt x="149598" y="613904"/>
                  </a:cubicBezTo>
                  <a:cubicBezTo>
                    <a:pt x="149598" y="613904"/>
                    <a:pt x="146449" y="649893"/>
                    <a:pt x="145099" y="678235"/>
                  </a:cubicBezTo>
                  <a:cubicBezTo>
                    <a:pt x="145099" y="678235"/>
                    <a:pt x="145099" y="678235"/>
                    <a:pt x="145099" y="678235"/>
                  </a:cubicBezTo>
                  <a:cubicBezTo>
                    <a:pt x="144200" y="693530"/>
                    <a:pt x="143300" y="709276"/>
                    <a:pt x="143749" y="720072"/>
                  </a:cubicBezTo>
                  <a:cubicBezTo>
                    <a:pt x="143749" y="726370"/>
                    <a:pt x="143749" y="734018"/>
                    <a:pt x="143300" y="742565"/>
                  </a:cubicBezTo>
                  <a:cubicBezTo>
                    <a:pt x="142850" y="752462"/>
                    <a:pt x="141950" y="762360"/>
                    <a:pt x="141050" y="770457"/>
                  </a:cubicBezTo>
                  <a:lnTo>
                    <a:pt x="141950" y="770457"/>
                  </a:lnTo>
                  <a:cubicBezTo>
                    <a:pt x="140600" y="791151"/>
                    <a:pt x="138351" y="810045"/>
                    <a:pt x="137001" y="814094"/>
                  </a:cubicBezTo>
                  <a:cubicBezTo>
                    <a:pt x="137001" y="814094"/>
                    <a:pt x="138801" y="818593"/>
                    <a:pt x="155896" y="817243"/>
                  </a:cubicBezTo>
                  <a:cubicBezTo>
                    <a:pt x="155896" y="817243"/>
                    <a:pt x="156795" y="817243"/>
                    <a:pt x="158595" y="817243"/>
                  </a:cubicBezTo>
                  <a:cubicBezTo>
                    <a:pt x="160844" y="828490"/>
                    <a:pt x="166243" y="856381"/>
                    <a:pt x="170741" y="869427"/>
                  </a:cubicBezTo>
                  <a:cubicBezTo>
                    <a:pt x="176140" y="886072"/>
                    <a:pt x="193234" y="946804"/>
                    <a:pt x="194134" y="952202"/>
                  </a:cubicBezTo>
                  <a:cubicBezTo>
                    <a:pt x="194584" y="957601"/>
                    <a:pt x="192335" y="970647"/>
                    <a:pt x="195934" y="979194"/>
                  </a:cubicBezTo>
                  <a:cubicBezTo>
                    <a:pt x="199533" y="987742"/>
                    <a:pt x="204031" y="994490"/>
                    <a:pt x="204031" y="1002587"/>
                  </a:cubicBezTo>
                  <a:cubicBezTo>
                    <a:pt x="204031" y="1010685"/>
                    <a:pt x="202682" y="1072766"/>
                    <a:pt x="208980" y="1097509"/>
                  </a:cubicBezTo>
                  <a:cubicBezTo>
                    <a:pt x="215278" y="1122701"/>
                    <a:pt x="231023" y="1205476"/>
                    <a:pt x="229674" y="1254061"/>
                  </a:cubicBezTo>
                  <a:cubicBezTo>
                    <a:pt x="228324" y="1302647"/>
                    <a:pt x="217527" y="1334587"/>
                    <a:pt x="209880" y="1344934"/>
                  </a:cubicBezTo>
                  <a:cubicBezTo>
                    <a:pt x="209880" y="1344934"/>
                    <a:pt x="203581" y="1353032"/>
                    <a:pt x="180639" y="1353931"/>
                  </a:cubicBezTo>
                  <a:cubicBezTo>
                    <a:pt x="180639" y="1353931"/>
                    <a:pt x="166693" y="1352582"/>
                    <a:pt x="165793" y="1364278"/>
                  </a:cubicBezTo>
                  <a:cubicBezTo>
                    <a:pt x="165343" y="1375975"/>
                    <a:pt x="168042" y="1389471"/>
                    <a:pt x="195934" y="1389471"/>
                  </a:cubicBezTo>
                  <a:cubicBezTo>
                    <a:pt x="223376" y="1389471"/>
                    <a:pt x="242719" y="1391270"/>
                    <a:pt x="246768" y="1383173"/>
                  </a:cubicBezTo>
                  <a:cubicBezTo>
                    <a:pt x="251267" y="1375075"/>
                    <a:pt x="259815" y="1339536"/>
                    <a:pt x="273760" y="1326040"/>
                  </a:cubicBezTo>
                  <a:cubicBezTo>
                    <a:pt x="287706" y="1312544"/>
                    <a:pt x="287706" y="1313893"/>
                    <a:pt x="290855" y="1325590"/>
                  </a:cubicBezTo>
                  <a:cubicBezTo>
                    <a:pt x="294004" y="1337286"/>
                    <a:pt x="293105" y="1342235"/>
                    <a:pt x="293105" y="1342235"/>
                  </a:cubicBezTo>
                  <a:cubicBezTo>
                    <a:pt x="293105" y="1342235"/>
                    <a:pt x="297603" y="1343585"/>
                    <a:pt x="293105" y="1345834"/>
                  </a:cubicBezTo>
                  <a:cubicBezTo>
                    <a:pt x="288606" y="1348083"/>
                    <a:pt x="274210" y="1351232"/>
                    <a:pt x="269711" y="1357081"/>
                  </a:cubicBezTo>
                  <a:cubicBezTo>
                    <a:pt x="265213" y="1362479"/>
                    <a:pt x="264763" y="1370576"/>
                    <a:pt x="267912" y="1375075"/>
                  </a:cubicBezTo>
                  <a:cubicBezTo>
                    <a:pt x="271061" y="1379574"/>
                    <a:pt x="264313" y="1387221"/>
                    <a:pt x="277809" y="1389021"/>
                  </a:cubicBezTo>
                  <a:cubicBezTo>
                    <a:pt x="291305" y="1390820"/>
                    <a:pt x="343039" y="1397568"/>
                    <a:pt x="357435" y="1388571"/>
                  </a:cubicBezTo>
                  <a:cubicBezTo>
                    <a:pt x="357435" y="1388571"/>
                    <a:pt x="364183" y="1379574"/>
                    <a:pt x="364183" y="1365178"/>
                  </a:cubicBezTo>
                  <a:cubicBezTo>
                    <a:pt x="364183" y="1351232"/>
                    <a:pt x="371381" y="1336387"/>
                    <a:pt x="377229" y="1332788"/>
                  </a:cubicBezTo>
                  <a:cubicBezTo>
                    <a:pt x="382628" y="1329189"/>
                    <a:pt x="384427" y="1337286"/>
                    <a:pt x="385777" y="1349883"/>
                  </a:cubicBezTo>
                  <a:cubicBezTo>
                    <a:pt x="387126" y="1362929"/>
                    <a:pt x="388925" y="1386772"/>
                    <a:pt x="388925" y="1386772"/>
                  </a:cubicBezTo>
                  <a:lnTo>
                    <a:pt x="395673" y="1386322"/>
                  </a:lnTo>
                  <a:cubicBezTo>
                    <a:pt x="395673" y="1386322"/>
                    <a:pt x="397923" y="1310744"/>
                    <a:pt x="407370" y="1288251"/>
                  </a:cubicBezTo>
                  <a:cubicBezTo>
                    <a:pt x="407820" y="1288251"/>
                    <a:pt x="401522" y="1258110"/>
                    <a:pt x="380378" y="1245514"/>
                  </a:cubicBezTo>
                  <a:close/>
                  <a:moveTo>
                    <a:pt x="332243" y="1222571"/>
                  </a:moveTo>
                  <a:cubicBezTo>
                    <a:pt x="330443" y="1239216"/>
                    <a:pt x="327294" y="1244614"/>
                    <a:pt x="325495" y="1256311"/>
                  </a:cubicBezTo>
                  <a:cubicBezTo>
                    <a:pt x="323695" y="1268007"/>
                    <a:pt x="323695" y="1290500"/>
                    <a:pt x="320546" y="1298598"/>
                  </a:cubicBezTo>
                  <a:cubicBezTo>
                    <a:pt x="317397" y="1306696"/>
                    <a:pt x="306601" y="1326940"/>
                    <a:pt x="305701" y="1324240"/>
                  </a:cubicBezTo>
                  <a:cubicBezTo>
                    <a:pt x="305251" y="1321991"/>
                    <a:pt x="308850" y="1306246"/>
                    <a:pt x="307950" y="1286002"/>
                  </a:cubicBezTo>
                  <a:cubicBezTo>
                    <a:pt x="307500" y="1265758"/>
                    <a:pt x="288156" y="1254061"/>
                    <a:pt x="288156" y="1254061"/>
                  </a:cubicBezTo>
                  <a:cubicBezTo>
                    <a:pt x="288156" y="1254061"/>
                    <a:pt x="280958" y="1236067"/>
                    <a:pt x="278259" y="1215373"/>
                  </a:cubicBezTo>
                  <a:cubicBezTo>
                    <a:pt x="276010" y="1194679"/>
                    <a:pt x="278259" y="1147444"/>
                    <a:pt x="278259" y="1127650"/>
                  </a:cubicBezTo>
                  <a:cubicBezTo>
                    <a:pt x="278259" y="1107855"/>
                    <a:pt x="285007" y="1082213"/>
                    <a:pt x="285457" y="1070517"/>
                  </a:cubicBezTo>
                  <a:cubicBezTo>
                    <a:pt x="285907" y="1058820"/>
                    <a:pt x="284107" y="1040376"/>
                    <a:pt x="281858" y="1031378"/>
                  </a:cubicBezTo>
                  <a:cubicBezTo>
                    <a:pt x="279609" y="1022381"/>
                    <a:pt x="275110" y="1002137"/>
                    <a:pt x="273760" y="991340"/>
                  </a:cubicBezTo>
                  <a:cubicBezTo>
                    <a:pt x="272411" y="980994"/>
                    <a:pt x="276010" y="971097"/>
                    <a:pt x="276010" y="971097"/>
                  </a:cubicBezTo>
                  <a:cubicBezTo>
                    <a:pt x="284107" y="976045"/>
                    <a:pt x="291755" y="996739"/>
                    <a:pt x="294454" y="1007086"/>
                  </a:cubicBezTo>
                  <a:cubicBezTo>
                    <a:pt x="296703" y="1017433"/>
                    <a:pt x="296253" y="1010235"/>
                    <a:pt x="316947" y="1101108"/>
                  </a:cubicBezTo>
                  <a:cubicBezTo>
                    <a:pt x="338991" y="1192430"/>
                    <a:pt x="334042" y="1205926"/>
                    <a:pt x="332243" y="1222571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0A4AF50A-6FD5-423A-B6C0-8E51DAC8F5C5}"/>
                </a:ext>
              </a:extLst>
            </p:cNvPr>
            <p:cNvSpPr/>
            <p:nvPr/>
          </p:nvSpPr>
          <p:spPr>
            <a:xfrm>
              <a:off x="8192221" y="368969"/>
              <a:ext cx="1560993" cy="1895490"/>
            </a:xfrm>
            <a:custGeom>
              <a:avLst/>
              <a:gdLst>
                <a:gd name="connsiteX0" fmla="*/ 1260801 w 1259620"/>
                <a:gd name="connsiteY0" fmla="*/ 655729 h 1529539"/>
                <a:gd name="connsiteX1" fmla="*/ 655734 w 1259620"/>
                <a:gd name="connsiteY1" fmla="*/ 2075 h 1529539"/>
                <a:gd name="connsiteX2" fmla="*/ 2080 w 1259620"/>
                <a:gd name="connsiteY2" fmla="*/ 607143 h 1529539"/>
                <a:gd name="connsiteX3" fmla="*/ 533820 w 1259620"/>
                <a:gd name="connsiteY3" fmla="*/ 1253599 h 1529539"/>
                <a:gd name="connsiteX4" fmla="*/ 456444 w 1259620"/>
                <a:gd name="connsiteY4" fmla="*/ 1532065 h 1529539"/>
                <a:gd name="connsiteX5" fmla="*/ 764151 w 1259620"/>
                <a:gd name="connsiteY5" fmla="*/ 1246851 h 1529539"/>
                <a:gd name="connsiteX6" fmla="*/ 1260801 w 1259620"/>
                <a:gd name="connsiteY6" fmla="*/ 655729 h 1529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9620" h="1529539">
                  <a:moveTo>
                    <a:pt x="1260801" y="655729"/>
                  </a:moveTo>
                  <a:cubicBezTo>
                    <a:pt x="1274297" y="308433"/>
                    <a:pt x="1003479" y="15571"/>
                    <a:pt x="655734" y="2075"/>
                  </a:cubicBezTo>
                  <a:cubicBezTo>
                    <a:pt x="307988" y="-11420"/>
                    <a:pt x="15576" y="259398"/>
                    <a:pt x="2080" y="607143"/>
                  </a:cubicBezTo>
                  <a:cubicBezTo>
                    <a:pt x="-10516" y="929696"/>
                    <a:pt x="222064" y="1205013"/>
                    <a:pt x="533820" y="1253599"/>
                  </a:cubicBezTo>
                  <a:lnTo>
                    <a:pt x="456444" y="1532065"/>
                  </a:lnTo>
                  <a:lnTo>
                    <a:pt x="764151" y="1246851"/>
                  </a:lnTo>
                  <a:cubicBezTo>
                    <a:pt x="1038568" y="1188368"/>
                    <a:pt x="1249105" y="949490"/>
                    <a:pt x="1260801" y="655729"/>
                  </a:cubicBezTo>
                  <a:close/>
                </a:path>
              </a:pathLst>
            </a:custGeom>
            <a:solidFill>
              <a:schemeClr val="accent1">
                <a:alpha val="40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CA261BBF-500E-4D48-BA30-4DB02BCE2DD6}"/>
                </a:ext>
              </a:extLst>
            </p:cNvPr>
            <p:cNvSpPr/>
            <p:nvPr/>
          </p:nvSpPr>
          <p:spPr>
            <a:xfrm>
              <a:off x="7267373" y="1418690"/>
              <a:ext cx="2058731" cy="2518990"/>
            </a:xfrm>
            <a:custGeom>
              <a:avLst/>
              <a:gdLst>
                <a:gd name="connsiteX0" fmla="*/ 2165 w 1489051"/>
                <a:gd name="connsiteY0" fmla="*/ 716085 h 1821951"/>
                <a:gd name="connsiteX1" fmla="*/ 773683 w 1489051"/>
                <a:gd name="connsiteY1" fmla="*/ 2150 h 1821951"/>
                <a:gd name="connsiteX2" fmla="*/ 1487618 w 1489051"/>
                <a:gd name="connsiteY2" fmla="*/ 773668 h 1821951"/>
                <a:gd name="connsiteX3" fmla="*/ 802924 w 1489051"/>
                <a:gd name="connsiteY3" fmla="*/ 1485803 h 1821951"/>
                <a:gd name="connsiteX4" fmla="*/ 868155 w 1489051"/>
                <a:gd name="connsiteY4" fmla="*/ 1820952 h 1821951"/>
                <a:gd name="connsiteX5" fmla="*/ 532106 w 1489051"/>
                <a:gd name="connsiteY5" fmla="*/ 1457462 h 1821951"/>
                <a:gd name="connsiteX6" fmla="*/ 2165 w 1489051"/>
                <a:gd name="connsiteY6" fmla="*/ 716085 h 1821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9051" h="1821951">
                  <a:moveTo>
                    <a:pt x="2165" y="716085"/>
                  </a:moveTo>
                  <a:cubicBezTo>
                    <a:pt x="17911" y="305809"/>
                    <a:pt x="363406" y="-13595"/>
                    <a:pt x="773683" y="2150"/>
                  </a:cubicBezTo>
                  <a:cubicBezTo>
                    <a:pt x="1183960" y="17895"/>
                    <a:pt x="1503363" y="363391"/>
                    <a:pt x="1487618" y="773668"/>
                  </a:cubicBezTo>
                  <a:cubicBezTo>
                    <a:pt x="1473222" y="1154703"/>
                    <a:pt x="1174062" y="1457012"/>
                    <a:pt x="802924" y="1485803"/>
                  </a:cubicBezTo>
                  <a:lnTo>
                    <a:pt x="868155" y="1820952"/>
                  </a:lnTo>
                  <a:lnTo>
                    <a:pt x="532106" y="1457462"/>
                  </a:lnTo>
                  <a:cubicBezTo>
                    <a:pt x="214951" y="1362540"/>
                    <a:pt x="-11331" y="1062481"/>
                    <a:pt x="2165" y="716085"/>
                  </a:cubicBezTo>
                  <a:close/>
                </a:path>
              </a:pathLst>
            </a:custGeom>
            <a:solidFill>
              <a:schemeClr val="accent3">
                <a:alpha val="60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648AE1D7-ACEC-41C6-98D4-39CBA6E3C75D}"/>
                </a:ext>
              </a:extLst>
            </p:cNvPr>
            <p:cNvSpPr/>
            <p:nvPr/>
          </p:nvSpPr>
          <p:spPr>
            <a:xfrm>
              <a:off x="9503977" y="1534427"/>
              <a:ext cx="1324802" cy="1604689"/>
            </a:xfrm>
            <a:custGeom>
              <a:avLst/>
              <a:gdLst>
                <a:gd name="connsiteX0" fmla="*/ 956804 w 958211"/>
                <a:gd name="connsiteY0" fmla="*/ 503337 h 1160650"/>
                <a:gd name="connsiteX1" fmla="*/ 503340 w 958211"/>
                <a:gd name="connsiteY1" fmla="*/ 2188 h 1160650"/>
                <a:gd name="connsiteX2" fmla="*/ 2191 w 958211"/>
                <a:gd name="connsiteY2" fmla="*/ 455651 h 1160650"/>
                <a:gd name="connsiteX3" fmla="*/ 400321 w 958211"/>
                <a:gd name="connsiteY3" fmla="*/ 950952 h 1160650"/>
                <a:gd name="connsiteX4" fmla="*/ 339139 w 958211"/>
                <a:gd name="connsiteY4" fmla="*/ 1161939 h 1160650"/>
                <a:gd name="connsiteX5" fmla="*/ 575318 w 958211"/>
                <a:gd name="connsiteY5" fmla="*/ 948253 h 1160650"/>
                <a:gd name="connsiteX6" fmla="*/ 956804 w 958211"/>
                <a:gd name="connsiteY6" fmla="*/ 503337 h 116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8211" h="1160650">
                  <a:moveTo>
                    <a:pt x="956804" y="503337"/>
                  </a:moveTo>
                  <a:cubicBezTo>
                    <a:pt x="969850" y="239716"/>
                    <a:pt x="766960" y="15234"/>
                    <a:pt x="503340" y="2188"/>
                  </a:cubicBezTo>
                  <a:cubicBezTo>
                    <a:pt x="239719" y="-10858"/>
                    <a:pt x="15237" y="192031"/>
                    <a:pt x="2191" y="455651"/>
                  </a:cubicBezTo>
                  <a:cubicBezTo>
                    <a:pt x="-9955" y="700377"/>
                    <a:pt x="164142" y="911364"/>
                    <a:pt x="400321" y="950952"/>
                  </a:cubicBezTo>
                  <a:lnTo>
                    <a:pt x="339139" y="1161939"/>
                  </a:lnTo>
                  <a:lnTo>
                    <a:pt x="575318" y="948253"/>
                  </a:lnTo>
                  <a:cubicBezTo>
                    <a:pt x="784055" y="905516"/>
                    <a:pt x="946007" y="726020"/>
                    <a:pt x="956804" y="503337"/>
                  </a:cubicBez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769DAD71-2B28-4BF2-AE01-0FBD4001143C}"/>
                </a:ext>
              </a:extLst>
            </p:cNvPr>
            <p:cNvSpPr/>
            <p:nvPr/>
          </p:nvSpPr>
          <p:spPr>
            <a:xfrm>
              <a:off x="6306427" y="1439639"/>
              <a:ext cx="1492735" cy="1828601"/>
            </a:xfrm>
            <a:custGeom>
              <a:avLst/>
              <a:gdLst>
                <a:gd name="connsiteX0" fmla="*/ 2017 w 1079674"/>
                <a:gd name="connsiteY0" fmla="*/ 520709 h 1322601"/>
                <a:gd name="connsiteX1" fmla="*/ 562548 w 1079674"/>
                <a:gd name="connsiteY1" fmla="*/ 2015 h 1322601"/>
                <a:gd name="connsiteX2" fmla="*/ 1081242 w 1079674"/>
                <a:gd name="connsiteY2" fmla="*/ 562547 h 1322601"/>
                <a:gd name="connsiteX3" fmla="*/ 583692 w 1079674"/>
                <a:gd name="connsiteY3" fmla="*/ 1079891 h 1322601"/>
                <a:gd name="connsiteX4" fmla="*/ 631377 w 1079674"/>
                <a:gd name="connsiteY4" fmla="*/ 1323268 h 1322601"/>
                <a:gd name="connsiteX5" fmla="*/ 387101 w 1079674"/>
                <a:gd name="connsiteY5" fmla="*/ 1059197 h 1322601"/>
                <a:gd name="connsiteX6" fmla="*/ 2017 w 1079674"/>
                <a:gd name="connsiteY6" fmla="*/ 520709 h 1322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9674" h="1322601">
                  <a:moveTo>
                    <a:pt x="2017" y="520709"/>
                  </a:moveTo>
                  <a:cubicBezTo>
                    <a:pt x="13713" y="222449"/>
                    <a:pt x="264738" y="-9681"/>
                    <a:pt x="562548" y="2015"/>
                  </a:cubicBezTo>
                  <a:cubicBezTo>
                    <a:pt x="860808" y="13262"/>
                    <a:pt x="1092938" y="264287"/>
                    <a:pt x="1081242" y="562547"/>
                  </a:cubicBezTo>
                  <a:cubicBezTo>
                    <a:pt x="1070445" y="839213"/>
                    <a:pt x="853160" y="1059197"/>
                    <a:pt x="583692" y="1079891"/>
                  </a:cubicBezTo>
                  <a:lnTo>
                    <a:pt x="631377" y="1323268"/>
                  </a:lnTo>
                  <a:lnTo>
                    <a:pt x="387101" y="1059197"/>
                  </a:lnTo>
                  <a:cubicBezTo>
                    <a:pt x="156320" y="990368"/>
                    <a:pt x="-7880" y="772184"/>
                    <a:pt x="2017" y="520709"/>
                  </a:cubicBez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7E3AAF64-B41E-481E-A90A-ED69D184BA11}"/>
                </a:ext>
              </a:extLst>
            </p:cNvPr>
            <p:cNvSpPr/>
            <p:nvPr/>
          </p:nvSpPr>
          <p:spPr>
            <a:xfrm>
              <a:off x="10122858" y="2294021"/>
              <a:ext cx="1317417" cy="1600547"/>
            </a:xfrm>
            <a:custGeom>
              <a:avLst/>
              <a:gdLst>
                <a:gd name="connsiteX0" fmla="*/ 1027687 w 1025691"/>
                <a:gd name="connsiteY0" fmla="*/ 534612 h 1246124"/>
                <a:gd name="connsiteX1" fmla="*/ 534635 w 1025691"/>
                <a:gd name="connsiteY1" fmla="*/ 1972 h 1246124"/>
                <a:gd name="connsiteX2" fmla="*/ 1996 w 1025691"/>
                <a:gd name="connsiteY2" fmla="*/ 495024 h 1246124"/>
                <a:gd name="connsiteX3" fmla="*/ 435215 w 1025691"/>
                <a:gd name="connsiteY3" fmla="*/ 1021815 h 1246124"/>
                <a:gd name="connsiteX4" fmla="*/ 372234 w 1025691"/>
                <a:gd name="connsiteY4" fmla="*/ 1248997 h 1246124"/>
                <a:gd name="connsiteX5" fmla="*/ 622809 w 1025691"/>
                <a:gd name="connsiteY5" fmla="*/ 1016867 h 1246124"/>
                <a:gd name="connsiteX6" fmla="*/ 1027687 w 1025691"/>
                <a:gd name="connsiteY6" fmla="*/ 534612 h 1246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5691" h="1246124">
                  <a:moveTo>
                    <a:pt x="1027687" y="534612"/>
                  </a:moveTo>
                  <a:cubicBezTo>
                    <a:pt x="1038483" y="251197"/>
                    <a:pt x="818050" y="12769"/>
                    <a:pt x="534635" y="1972"/>
                  </a:cubicBezTo>
                  <a:cubicBezTo>
                    <a:pt x="251220" y="-8824"/>
                    <a:pt x="12792" y="211609"/>
                    <a:pt x="1996" y="495024"/>
                  </a:cubicBezTo>
                  <a:cubicBezTo>
                    <a:pt x="-8351" y="758195"/>
                    <a:pt x="181491" y="982227"/>
                    <a:pt x="435215" y="1021815"/>
                  </a:cubicBezTo>
                  <a:lnTo>
                    <a:pt x="372234" y="1248997"/>
                  </a:lnTo>
                  <a:lnTo>
                    <a:pt x="622809" y="1016867"/>
                  </a:lnTo>
                  <a:cubicBezTo>
                    <a:pt x="846841" y="968282"/>
                    <a:pt x="1018239" y="773940"/>
                    <a:pt x="1027687" y="534612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402FF13B-05D8-4AE3-9E34-45452DB62606}"/>
                </a:ext>
              </a:extLst>
            </p:cNvPr>
            <p:cNvSpPr/>
            <p:nvPr/>
          </p:nvSpPr>
          <p:spPr>
            <a:xfrm>
              <a:off x="8637651" y="2767088"/>
              <a:ext cx="926739" cy="1125771"/>
            </a:xfrm>
            <a:custGeom>
              <a:avLst/>
              <a:gdLst>
                <a:gd name="connsiteX0" fmla="*/ 671254 w 670298"/>
                <a:gd name="connsiteY0" fmla="*/ 349596 h 814254"/>
                <a:gd name="connsiteX1" fmla="*/ 349601 w 670298"/>
                <a:gd name="connsiteY1" fmla="*/ 1851 h 814254"/>
                <a:gd name="connsiteX2" fmla="*/ 1856 w 670298"/>
                <a:gd name="connsiteY2" fmla="*/ 323504 h 814254"/>
                <a:gd name="connsiteX3" fmla="*/ 284820 w 670298"/>
                <a:gd name="connsiteY3" fmla="*/ 667650 h 814254"/>
                <a:gd name="connsiteX4" fmla="*/ 243883 w 670298"/>
                <a:gd name="connsiteY4" fmla="*/ 816106 h 814254"/>
                <a:gd name="connsiteX5" fmla="*/ 407633 w 670298"/>
                <a:gd name="connsiteY5" fmla="*/ 664501 h 814254"/>
                <a:gd name="connsiteX6" fmla="*/ 671254 w 670298"/>
                <a:gd name="connsiteY6" fmla="*/ 349596 h 814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0298" h="814254">
                  <a:moveTo>
                    <a:pt x="671254" y="349596"/>
                  </a:moveTo>
                  <a:cubicBezTo>
                    <a:pt x="678452" y="164702"/>
                    <a:pt x="534495" y="9049"/>
                    <a:pt x="349601" y="1851"/>
                  </a:cubicBezTo>
                  <a:cubicBezTo>
                    <a:pt x="164707" y="-5347"/>
                    <a:pt x="9053" y="138610"/>
                    <a:pt x="1856" y="323504"/>
                  </a:cubicBezTo>
                  <a:cubicBezTo>
                    <a:pt x="-4892" y="495352"/>
                    <a:pt x="118820" y="641558"/>
                    <a:pt x="284820" y="667650"/>
                  </a:cubicBezTo>
                  <a:lnTo>
                    <a:pt x="243883" y="816106"/>
                  </a:lnTo>
                  <a:lnTo>
                    <a:pt x="407633" y="664501"/>
                  </a:lnTo>
                  <a:cubicBezTo>
                    <a:pt x="552940" y="633011"/>
                    <a:pt x="664956" y="505699"/>
                    <a:pt x="671254" y="349596"/>
                  </a:cubicBez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 w="44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FBD7DF07-B897-4FDE-8B43-F57BAC5981A1}"/>
              </a:ext>
            </a:extLst>
          </p:cNvPr>
          <p:cNvSpPr/>
          <p:nvPr userDrawn="1"/>
        </p:nvSpPr>
        <p:spPr>
          <a:xfrm flipH="1">
            <a:off x="5204012" y="0"/>
            <a:ext cx="6987988" cy="6858000"/>
          </a:xfrm>
          <a:custGeom>
            <a:avLst/>
            <a:gdLst>
              <a:gd name="connsiteX0" fmla="*/ 0 w 6849979"/>
              <a:gd name="connsiteY0" fmla="*/ 0 h 6858000"/>
              <a:gd name="connsiteX1" fmla="*/ 6849979 w 6849979"/>
              <a:gd name="connsiteY1" fmla="*/ 0 h 6858000"/>
              <a:gd name="connsiteX2" fmla="*/ 6731804 w 6849979"/>
              <a:gd name="connsiteY2" fmla="*/ 184043 h 6858000"/>
              <a:gd name="connsiteX3" fmla="*/ 5868284 w 6849979"/>
              <a:gd name="connsiteY3" fmla="*/ 3429001 h 6858000"/>
              <a:gd name="connsiteX4" fmla="*/ 6731804 w 6849979"/>
              <a:gd name="connsiteY4" fmla="*/ 6673959 h 6858000"/>
              <a:gd name="connsiteX5" fmla="*/ 6849978 w 6849979"/>
              <a:gd name="connsiteY5" fmla="*/ 6858000 h 6858000"/>
              <a:gd name="connsiteX6" fmla="*/ 0 w 684997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49979" h="6858000">
                <a:moveTo>
                  <a:pt x="0" y="0"/>
                </a:moveTo>
                <a:lnTo>
                  <a:pt x="6849979" y="0"/>
                </a:lnTo>
                <a:lnTo>
                  <a:pt x="6731804" y="184043"/>
                </a:lnTo>
                <a:cubicBezTo>
                  <a:pt x="6192345" y="1065864"/>
                  <a:pt x="5868284" y="2196380"/>
                  <a:pt x="5868284" y="3429001"/>
                </a:cubicBezTo>
                <a:cubicBezTo>
                  <a:pt x="5868284" y="4661623"/>
                  <a:pt x="6192345" y="5792138"/>
                  <a:pt x="6731804" y="6673959"/>
                </a:cubicBezTo>
                <a:lnTo>
                  <a:pt x="684997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>
                  <a:lumMod val="75000"/>
                </a:schemeClr>
              </a:gs>
              <a:gs pos="100000">
                <a:schemeClr val="tx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2210828"/>
            <a:ext cx="108457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5202863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906592"/>
            <a:ext cx="108457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583823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F881D-9EB8-4A61-B64B-C09E422E98CF}" type="datetimeFigureOut">
              <a:rPr lang="zh-CN" altLang="en-US" smtClean="0"/>
              <a:t>2019/10/13/Sun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F9B88-7169-4F5A-A4DC-FCDBD453A8A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589727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6424" y="1173575"/>
            <a:ext cx="9966960" cy="2926080"/>
          </a:xfrm>
        </p:spPr>
        <p:txBody>
          <a:bodyPr anchor="b">
            <a:noAutofit/>
          </a:bodyPr>
          <a:lstStyle>
            <a:lvl1pPr algn="ctr">
              <a:lnSpc>
                <a:spcPct val="85000"/>
              </a:lnSpc>
              <a:defRPr sz="5400" b="0" cap="all" baseline="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09928" y="4154520"/>
            <a:ext cx="8769096" cy="1363806"/>
          </a:xfrm>
        </p:spPr>
        <p:txBody>
          <a:bodyPr anchor="t">
            <a:normAutofit/>
          </a:bodyPr>
          <a:lstStyle>
            <a:lvl1pPr marL="0" indent="0" algn="ctr">
              <a:buNone/>
              <a:defRPr sz="1650">
                <a:solidFill>
                  <a:schemeClr val="accent1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F881D-9EB8-4A61-B64B-C09E422E98CF}" type="datetimeFigureOut">
              <a:rPr lang="zh-CN" altLang="en-US" smtClean="0"/>
              <a:t>2019/10/13/Sun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F9B88-7169-4F5A-A4DC-FCDBD453A8AF}" type="slidenum">
              <a:rPr lang="zh-CN" altLang="en-US" smtClean="0"/>
              <a:t>‹#›</a:t>
            </a:fld>
            <a:endParaRPr lang="zh-CN" alt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1981201" y="4020408"/>
            <a:ext cx="822960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70339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3000" y="2057399"/>
            <a:ext cx="4754880" cy="4023360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7612" y="2057400"/>
            <a:ext cx="4754880" cy="4023360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F881D-9EB8-4A61-B64B-C09E422E98CF}" type="datetimeFigureOut">
              <a:rPr lang="zh-CN" altLang="en-US" smtClean="0"/>
              <a:t>2019/10/13/Sun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F9B88-7169-4F5A-A4DC-FCDBD453A8A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382261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2001511"/>
            <a:ext cx="475488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3000" y="2721483"/>
            <a:ext cx="4754880" cy="3383280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69173" y="1999032"/>
            <a:ext cx="475488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9173" y="2719322"/>
            <a:ext cx="4754880" cy="3383280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F881D-9EB8-4A61-B64B-C09E422E98CF}" type="datetimeFigureOut">
              <a:rPr lang="zh-CN" altLang="en-US" smtClean="0"/>
              <a:t>2019/10/13/Sun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F9B88-7169-4F5A-A4DC-FCDBD453A8A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594990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F881D-9EB8-4A61-B64B-C09E422E98CF}" type="datetimeFigureOut">
              <a:rPr lang="zh-CN" altLang="en-US" smtClean="0"/>
              <a:t>2019/10/13/Sun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F9B88-7169-4F5A-A4DC-FCDBD453A8A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87621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F881D-9EB8-4A61-B64B-C09E422E98CF}" type="datetimeFigureOut">
              <a:rPr lang="zh-CN" altLang="en-US" smtClean="0"/>
              <a:t>2019/10/13/Sun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F9B88-7169-4F5A-A4DC-FCDBD453A8A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18017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000" b="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52159" y="1097280"/>
            <a:ext cx="5212080" cy="4663440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2834640"/>
            <a:ext cx="3931920" cy="301752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750"/>
              </a:spcBef>
              <a:buNone/>
              <a:defRPr sz="1275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F881D-9EB8-4A61-B64B-C09E422E98CF}" type="datetimeFigureOut">
              <a:rPr lang="zh-CN" altLang="en-US" smtClean="0"/>
              <a:t>2019/10/13/Sun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F9B88-7169-4F5A-A4DC-FCDBD453A8A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09507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000" b="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13248" y="1069847"/>
            <a:ext cx="6099048" cy="4800600"/>
          </a:xfrm>
        </p:spPr>
        <p:txBody>
          <a:bodyPr lIns="274320" tIns="182880" anchor="t">
            <a:normAutofit/>
          </a:bodyPr>
          <a:lstStyle>
            <a:lvl1pPr marL="0" indent="0">
              <a:buNone/>
              <a:defRPr sz="21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2834640"/>
            <a:ext cx="3931920" cy="288036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750"/>
              </a:spcBef>
              <a:buNone/>
              <a:defRPr sz="1275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F881D-9EB8-4A61-B64B-C09E422E98CF}" type="datetimeFigureOut">
              <a:rPr lang="zh-CN" altLang="en-US" smtClean="0"/>
              <a:t>2019/10/13/Sun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F9B88-7169-4F5A-A4DC-FCDBD453A8A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60903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31140" y="243841"/>
            <a:ext cx="11724640" cy="6377939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3000" y="609600"/>
            <a:ext cx="9875520" cy="1356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2" y="2057400"/>
            <a:ext cx="9872871" cy="4038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42996" y="6223830"/>
            <a:ext cx="23290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119F881D-9EB8-4A61-B64B-C09E422E98CF}" type="datetimeFigureOut">
              <a:rPr lang="zh-CN" altLang="en-US" smtClean="0"/>
              <a:t>2019/10/13/Sun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49149" y="6223830"/>
            <a:ext cx="4717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accent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9532" y="6223830"/>
            <a:ext cx="17062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0C9F9B88-7169-4F5A-A4DC-FCDBD453A8A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62455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37160" algn="l" defTabSz="685800" rtl="0" eaLnBrk="1" latinLnBrk="0" hangingPunct="1">
        <a:lnSpc>
          <a:spcPct val="90000"/>
        </a:lnSpc>
        <a:spcBef>
          <a:spcPts val="1050"/>
        </a:spcBef>
        <a:buClr>
          <a:schemeClr val="accent1"/>
        </a:buClr>
        <a:buSzPct val="80000"/>
        <a:buFont typeface="Corbel" pitchFamily="34" charset="0"/>
        <a:buChar char="•"/>
        <a:defRPr sz="165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42900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5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8640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350" kern="1200">
          <a:solidFill>
            <a:schemeClr val="accent1"/>
          </a:solidFill>
          <a:latin typeface="+mn-lt"/>
          <a:ea typeface="+mn-ea"/>
          <a:cs typeface="+mn-cs"/>
        </a:defRPr>
      </a:lvl3pPr>
      <a:lvl4pPr marL="754380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60120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200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142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650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87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10/13/Sun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572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tif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tif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image" Target="../media/image1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tags" Target="../tags/tag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tags" Target="../tags/tag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hyperlink" Target="https://wenku.baidu.com/view/06aca9403186bceb19e8bbfa.html" TargetMode="Externa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1B48DBE-EB73-4C31-AD52-FA135BD921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58390" y="1600201"/>
            <a:ext cx="7475220" cy="202889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zh-CN" altLang="en-US" sz="6000" dirty="0"/>
              <a:t>封面</a:t>
            </a:r>
            <a:endParaRPr lang="zh-CN" altLang="en-US" sz="6000" dirty="0"/>
          </a:p>
        </p:txBody>
      </p:sp>
      <p:sp>
        <p:nvSpPr>
          <p:cNvPr id="4" name="副标题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11836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1B48DBE-EB73-4C31-AD52-FA135BD921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58390" y="1600201"/>
            <a:ext cx="7475220" cy="202889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zh-CN" altLang="en-US" sz="6000" cap="small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背景</a:t>
            </a:r>
            <a:endParaRPr lang="zh-CN" altLang="en-US" sz="6000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E746FE19-204A-4A6D-A85C-7F797D5288B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8264394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858128E-2E87-7F46-A68B-7F827005F1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工业的进化</a:t>
            </a:r>
            <a:r>
              <a:rPr kumimoji="1" lang="en-US" altLang="zh-CN" dirty="0"/>
              <a:t/>
            </a:r>
            <a:br>
              <a:rPr kumimoji="1" lang="en-US" altLang="zh-CN" dirty="0"/>
            </a:br>
            <a:r>
              <a:rPr kumimoji="1" lang="zh-CN" altLang="en-US" dirty="0"/>
              <a:t>为产品而生</a:t>
            </a:r>
          </a:p>
        </p:txBody>
      </p:sp>
      <p:graphicFrame>
        <p:nvGraphicFramePr>
          <p:cNvPr id="4" name="内容占位符 3">
            <a:extLst>
              <a:ext uri="{FF2B5EF4-FFF2-40B4-BE49-F238E27FC236}">
                <a16:creationId xmlns:a16="http://schemas.microsoft.com/office/drawing/2014/main" id="{DF57B57B-CC7E-9F4A-A911-D0E041D74B4A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2381250" y="2057400"/>
          <a:ext cx="7404100" cy="4038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672468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947FAEA-9459-0C4A-B727-CE769F378C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清华的工业创新产品化的问题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91084B2-BDBC-9447-B41C-3FB3561E2B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altLang="zh-CN" sz="2800" dirty="0"/>
              <a:t>1</a:t>
            </a:r>
            <a:r>
              <a:rPr lang="zh-CN" altLang="en-US" sz="2800" dirty="0"/>
              <a:t>、清华科技成果众多，但真正有商业价值的占比小；</a:t>
            </a:r>
          </a:p>
          <a:p>
            <a:r>
              <a:rPr lang="en-US" altLang="zh-CN" sz="2800" dirty="0"/>
              <a:t>2</a:t>
            </a:r>
            <a:r>
              <a:rPr lang="zh-CN" altLang="en-US" sz="2800" dirty="0"/>
              <a:t>、部分高校建立了技术转化中心，但工作人员以及经验相比国际知名大学较少；</a:t>
            </a:r>
          </a:p>
          <a:p>
            <a:r>
              <a:rPr lang="en-US" altLang="zh-CN" sz="2800" dirty="0"/>
              <a:t>3</a:t>
            </a:r>
            <a:r>
              <a:rPr lang="zh-CN" altLang="en-US" sz="2800" dirty="0"/>
              <a:t>、企业对技术革新有强烈需求，但无法准确描述具体需求，需专人协助挖掘需求。</a:t>
            </a:r>
          </a:p>
        </p:txBody>
      </p:sp>
    </p:spTree>
    <p:extLst>
      <p:ext uri="{BB962C8B-B14F-4D97-AF65-F5344CB8AC3E}">
        <p14:creationId xmlns:p14="http://schemas.microsoft.com/office/powerpoint/2010/main" val="30075694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194DB25-A8D6-2A42-B341-7079496B3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孵化功能欠缺</a:t>
            </a:r>
            <a:r>
              <a:rPr kumimoji="1" lang="en-US" altLang="zh-CN" dirty="0"/>
              <a:t>--</a:t>
            </a:r>
            <a:r>
              <a:rPr kumimoji="1" lang="zh-CN" altLang="en-US" dirty="0"/>
              <a:t>借鉴硅谷与斯坦福模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7628F40-0A2C-274C-8655-7364F715BF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4504" y="2025134"/>
            <a:ext cx="3981497" cy="4038600"/>
          </a:xfrm>
        </p:spPr>
        <p:txBody>
          <a:bodyPr>
            <a:noAutofit/>
          </a:bodyPr>
          <a:lstStyle/>
          <a:p>
            <a:r>
              <a:rPr lang="zh-CN" altLang="en-US" sz="2400" dirty="0"/>
              <a:t>与中国相比，硅谷本身就有一个非常好的创业氛围，各种机构都非常多，包括专利律师和连续创业者等等，形成了一个很完善的有利于初创公司发展的生态系统，这些也能帮助技术转化。硅谷现有的良性循环生态不是一蹴而就的，是长时间发展的成果。</a:t>
            </a:r>
            <a:endParaRPr kumimoji="1" lang="zh-CN" altLang="en-US" sz="2400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51BFA8A7-280D-A543-93B6-844CD54C1E55}"/>
              </a:ext>
            </a:extLst>
          </p:cNvPr>
          <p:cNvSpPr txBox="1"/>
          <p:nvPr/>
        </p:nvSpPr>
        <p:spPr>
          <a:xfrm>
            <a:off x="2114504" y="5537641"/>
            <a:ext cx="3185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来源：硅谷中国跨境天使平台</a:t>
            </a:r>
            <a:endParaRPr kumimoji="1" lang="zh-CN" altLang="en-US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9F45588-C152-1841-8ACC-E80175F3CABC}"/>
              </a:ext>
            </a:extLst>
          </p:cNvPr>
          <p:cNvSpPr/>
          <p:nvPr/>
        </p:nvSpPr>
        <p:spPr>
          <a:xfrm>
            <a:off x="6283891" y="2162689"/>
            <a:ext cx="3503999" cy="25601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37160" defTabSz="685800">
              <a:lnSpc>
                <a:spcPct val="90000"/>
              </a:lnSpc>
              <a:spcBef>
                <a:spcPts val="1050"/>
              </a:spcBef>
              <a:buClr>
                <a:schemeClr val="accent1"/>
              </a:buClr>
              <a:buSzPct val="80000"/>
              <a:buFont typeface="Corbel" pitchFamily="34" charset="0"/>
              <a:buChar char="•"/>
            </a:pPr>
            <a:r>
              <a:rPr lang="zh-CN" altLang="en-US" sz="2400" dirty="0">
                <a:solidFill>
                  <a:schemeClr val="accent1"/>
                </a:solidFill>
              </a:rPr>
              <a:t>在政策上下功夫，促进清华</a:t>
            </a:r>
            <a:r>
              <a:rPr lang="en-US" altLang="zh-CN" sz="2400" dirty="0" err="1">
                <a:solidFill>
                  <a:schemeClr val="accent1"/>
                </a:solidFill>
              </a:rPr>
              <a:t>iCenter</a:t>
            </a:r>
            <a:r>
              <a:rPr lang="zh-CN" altLang="en-US" sz="2400" dirty="0">
                <a:solidFill>
                  <a:schemeClr val="accent1"/>
                </a:solidFill>
              </a:rPr>
              <a:t>孵化器，发展。真正做到产学研结合。</a:t>
            </a:r>
            <a:endParaRPr lang="en-US" altLang="zh-CN" sz="2400" dirty="0">
              <a:solidFill>
                <a:schemeClr val="accent1"/>
              </a:solidFill>
            </a:endParaRPr>
          </a:p>
          <a:p>
            <a:pPr marL="171450" indent="-137160" defTabSz="685800">
              <a:lnSpc>
                <a:spcPct val="90000"/>
              </a:lnSpc>
              <a:spcBef>
                <a:spcPts val="1050"/>
              </a:spcBef>
              <a:buClr>
                <a:schemeClr val="accent1"/>
              </a:buClr>
              <a:buSzPct val="80000"/>
              <a:buFont typeface="Corbel" pitchFamily="34" charset="0"/>
              <a:buChar char="•"/>
            </a:pPr>
            <a:r>
              <a:rPr lang="zh-CN" altLang="en-US" sz="2400" dirty="0">
                <a:solidFill>
                  <a:schemeClr val="accent1"/>
                </a:solidFill>
              </a:rPr>
              <a:t>不论是人工智能、芯片设计还是工业流程优化，都不只是写论文的游戏</a:t>
            </a:r>
          </a:p>
        </p:txBody>
      </p:sp>
    </p:spTree>
    <p:extLst>
      <p:ext uri="{BB962C8B-B14F-4D97-AF65-F5344CB8AC3E}">
        <p14:creationId xmlns:p14="http://schemas.microsoft.com/office/powerpoint/2010/main" val="25524361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F492DCD-99E6-4A97-B048-9A1CE365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graphicFrame>
        <p:nvGraphicFramePr>
          <p:cNvPr id="4" name="表格 4">
            <a:extLst>
              <a:ext uri="{FF2B5EF4-FFF2-40B4-BE49-F238E27FC236}">
                <a16:creationId xmlns:a16="http://schemas.microsoft.com/office/drawing/2014/main" id="{E409EA77-B5B5-4FAA-90D1-7482BB1DD7C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381250" y="609600"/>
          <a:ext cx="7529374" cy="55702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7178">
                  <a:extLst>
                    <a:ext uri="{9D8B030D-6E8A-4147-A177-3AD203B41FA5}">
                      <a16:colId xmlns:a16="http://schemas.microsoft.com/office/drawing/2014/main" val="2421478888"/>
                    </a:ext>
                  </a:extLst>
                </a:gridCol>
                <a:gridCol w="5232196">
                  <a:extLst>
                    <a:ext uri="{9D8B030D-6E8A-4147-A177-3AD203B41FA5}">
                      <a16:colId xmlns:a16="http://schemas.microsoft.com/office/drawing/2014/main" val="3774396598"/>
                    </a:ext>
                  </a:extLst>
                </a:gridCol>
              </a:tblGrid>
              <a:tr h="309349">
                <a:tc gridSpan="2">
                  <a:txBody>
                    <a:bodyPr/>
                    <a:lstStyle/>
                    <a:p>
                      <a:r>
                        <a:rPr lang="en-US" altLang="zh-CN" sz="2000" dirty="0" err="1"/>
                        <a:t>iCenter</a:t>
                      </a:r>
                      <a:r>
                        <a:rPr lang="zh-CN" altLang="en-US" sz="2000" b="0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训练中心现拥有的设备种类比较齐全，仪器设备共</a:t>
                      </a:r>
                      <a:r>
                        <a:rPr lang="en-US" altLang="zh-CN" sz="2000" b="0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46</a:t>
                      </a:r>
                      <a:r>
                        <a:rPr lang="zh-CN" altLang="en-US" sz="2000" b="0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台件</a:t>
                      </a:r>
                      <a:r>
                        <a:rPr lang="en-US" altLang="zh-CN" sz="2000" b="0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zh-CN" altLang="en-US" sz="2000" b="0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特别适合科研加工和新产品孵化。</a:t>
                      </a:r>
                      <a:endParaRPr lang="zh-CN" altLang="en-US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8783222"/>
                  </a:ext>
                </a:extLst>
              </a:tr>
              <a:tr h="895338">
                <a:tc>
                  <a:txBody>
                    <a:bodyPr/>
                    <a:lstStyle/>
                    <a:p>
                      <a:r>
                        <a:rPr lang="zh-CN" altLang="en-US" b="1" dirty="0">
                          <a:solidFill>
                            <a:schemeClr val="tx1"/>
                          </a:solidFill>
                        </a:rPr>
                        <a:t>切削类设备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1. </a:t>
                      </a:r>
                      <a:r>
                        <a:rPr lang="zh-CN" altLang="en-US" dirty="0">
                          <a:solidFill>
                            <a:schemeClr val="tx1"/>
                          </a:solidFill>
                        </a:rPr>
                        <a:t>普通机床：车床、铣床、磨床（平面磨、外圆磨、内圆磨）、刨床、钳工等。</a:t>
                      </a:r>
                      <a:br>
                        <a:rPr lang="zh-CN" altLang="en-US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2. </a:t>
                      </a:r>
                      <a:r>
                        <a:rPr lang="zh-CN" altLang="en-US" dirty="0">
                          <a:solidFill>
                            <a:schemeClr val="tx1"/>
                          </a:solidFill>
                        </a:rPr>
                        <a:t>数控类机床：数控车床、数控铣床、加工中心（三轴、四轴）、数控车削中心、高速小型   雕刻机等。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81786"/>
                  </a:ext>
                </a:extLst>
              </a:tr>
              <a:tr h="693887">
                <a:tc>
                  <a:txBody>
                    <a:bodyPr/>
                    <a:lstStyle/>
                    <a:p>
                      <a:r>
                        <a:rPr lang="zh-CN" altLang="en-US" b="1" dirty="0">
                          <a:solidFill>
                            <a:schemeClr val="tx1"/>
                          </a:solidFill>
                        </a:rPr>
                        <a:t>特种加工设备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1. </a:t>
                      </a:r>
                      <a:r>
                        <a:rPr lang="zh-CN" altLang="en-US" dirty="0">
                          <a:solidFill>
                            <a:schemeClr val="tx1"/>
                          </a:solidFill>
                        </a:rPr>
                        <a:t>电加工类：中走丝线切割机床、电火花型腔加工机床、电火花小孔加工机床。</a:t>
                      </a:r>
                      <a:br>
                        <a:rPr lang="zh-CN" altLang="en-US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2. </a:t>
                      </a:r>
                      <a:r>
                        <a:rPr lang="zh-CN" altLang="en-US" dirty="0">
                          <a:solidFill>
                            <a:schemeClr val="tx1"/>
                          </a:solidFill>
                        </a:rPr>
                        <a:t>激光加工：非金属材料激光切割、雕刻，金属材料激光打标。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5774382"/>
                  </a:ext>
                </a:extLst>
              </a:tr>
              <a:tr h="1298241">
                <a:tc>
                  <a:txBody>
                    <a:bodyPr/>
                    <a:lstStyle/>
                    <a:p>
                      <a:r>
                        <a:rPr lang="zh-CN" altLang="en-US" b="1" dirty="0">
                          <a:solidFill>
                            <a:schemeClr val="tx1"/>
                          </a:solidFill>
                        </a:rPr>
                        <a:t>材料成型类加工设备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1. </a:t>
                      </a:r>
                      <a:r>
                        <a:rPr lang="zh-CN" altLang="en-US" dirty="0">
                          <a:solidFill>
                            <a:schemeClr val="tx1"/>
                          </a:solidFill>
                        </a:rPr>
                        <a:t>板料加工：剪板机、折弯机、四柱压机、数控冲床等。</a:t>
                      </a:r>
                      <a:br>
                        <a:rPr lang="zh-CN" altLang="en-US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2. </a:t>
                      </a:r>
                      <a:r>
                        <a:rPr lang="zh-CN" altLang="en-US" dirty="0">
                          <a:solidFill>
                            <a:schemeClr val="tx1"/>
                          </a:solidFill>
                        </a:rPr>
                        <a:t>铸造设备：普通砂铸、消失模铸、压力铸造。</a:t>
                      </a:r>
                      <a:br>
                        <a:rPr lang="zh-CN" altLang="en-US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3. </a:t>
                      </a:r>
                      <a:r>
                        <a:rPr lang="zh-CN" altLang="en-US" dirty="0">
                          <a:solidFill>
                            <a:schemeClr val="tx1"/>
                          </a:solidFill>
                        </a:rPr>
                        <a:t>焊接设备：气焊、电弧焊、二氧化碳保护焊、氩弧焊、点焊、埋弧自动焊等。</a:t>
                      </a:r>
                      <a:br>
                        <a:rPr lang="zh-CN" altLang="en-US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4. </a:t>
                      </a:r>
                      <a:r>
                        <a:rPr lang="zh-CN" altLang="en-US" dirty="0">
                          <a:solidFill>
                            <a:schemeClr val="tx1"/>
                          </a:solidFill>
                        </a:rPr>
                        <a:t>锻造设备：空气锤锻造、手工锻造。</a:t>
                      </a:r>
                      <a:br>
                        <a:rPr lang="zh-CN" altLang="en-US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5. </a:t>
                      </a:r>
                      <a:r>
                        <a:rPr lang="zh-CN" altLang="en-US" dirty="0">
                          <a:solidFill>
                            <a:schemeClr val="tx1"/>
                          </a:solidFill>
                        </a:rPr>
                        <a:t>数控等离子</a:t>
                      </a:r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---</a:t>
                      </a:r>
                      <a:r>
                        <a:rPr lang="zh-CN" altLang="en-US" dirty="0">
                          <a:solidFill>
                            <a:schemeClr val="tx1"/>
                          </a:solidFill>
                        </a:rPr>
                        <a:t>火焰双功能切割机（板材下料）。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4164095"/>
                  </a:ext>
                </a:extLst>
              </a:tr>
              <a:tr h="492436">
                <a:tc>
                  <a:txBody>
                    <a:bodyPr/>
                    <a:lstStyle/>
                    <a:p>
                      <a:r>
                        <a:rPr lang="zh-CN" altLang="en-US" b="1" dirty="0">
                          <a:solidFill>
                            <a:schemeClr val="tx1"/>
                          </a:solidFill>
                        </a:rPr>
                        <a:t>特种制造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1. </a:t>
                      </a:r>
                      <a:r>
                        <a:rPr lang="zh-CN" altLang="en-US" dirty="0">
                          <a:solidFill>
                            <a:schemeClr val="tx1"/>
                          </a:solidFill>
                        </a:rPr>
                        <a:t>激光快速成形制造设备。</a:t>
                      </a:r>
                      <a:br>
                        <a:rPr lang="zh-CN" altLang="en-US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2. </a:t>
                      </a:r>
                      <a:r>
                        <a:rPr lang="zh-CN" altLang="en-US" dirty="0">
                          <a:solidFill>
                            <a:schemeClr val="tx1"/>
                          </a:solidFill>
                        </a:rPr>
                        <a:t>超声波焊接机。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3726367"/>
                  </a:ext>
                </a:extLst>
              </a:tr>
              <a:tr h="895338">
                <a:tc>
                  <a:txBody>
                    <a:bodyPr/>
                    <a:lstStyle/>
                    <a:p>
                      <a:r>
                        <a:rPr lang="zh-CN" altLang="en-US" b="1" dirty="0">
                          <a:solidFill>
                            <a:schemeClr val="tx1"/>
                          </a:solidFill>
                        </a:rPr>
                        <a:t>检测仪器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1. </a:t>
                      </a:r>
                      <a:r>
                        <a:rPr lang="zh-CN" altLang="en-US" dirty="0">
                          <a:solidFill>
                            <a:schemeClr val="tx1"/>
                          </a:solidFill>
                        </a:rPr>
                        <a:t>三坐标测量仪（反求测量）。</a:t>
                      </a:r>
                      <a:br>
                        <a:rPr lang="zh-CN" altLang="en-US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2. </a:t>
                      </a:r>
                      <a:r>
                        <a:rPr lang="zh-CN" altLang="en-US" dirty="0">
                          <a:solidFill>
                            <a:schemeClr val="tx1"/>
                          </a:solidFill>
                        </a:rPr>
                        <a:t>数显洛氏硬度计、金相显微镜等。</a:t>
                      </a:r>
                      <a:br>
                        <a:rPr lang="zh-CN" altLang="en-US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3. </a:t>
                      </a:r>
                      <a:r>
                        <a:rPr lang="zh-CN" altLang="en-US" dirty="0">
                          <a:solidFill>
                            <a:schemeClr val="tx1"/>
                          </a:solidFill>
                        </a:rPr>
                        <a:t>便携式三维打印机。</a:t>
                      </a:r>
                      <a:br>
                        <a:rPr lang="zh-CN" altLang="en-US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4. </a:t>
                      </a:r>
                      <a:r>
                        <a:rPr lang="zh-CN" altLang="en-US" dirty="0">
                          <a:solidFill>
                            <a:schemeClr val="tx1"/>
                          </a:solidFill>
                        </a:rPr>
                        <a:t>照相式三维扫描仪。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7961787"/>
                  </a:ext>
                </a:extLst>
              </a:tr>
              <a:tr h="492436">
                <a:tc>
                  <a:txBody>
                    <a:bodyPr/>
                    <a:lstStyle/>
                    <a:p>
                      <a:r>
                        <a:rPr lang="zh-CN" altLang="en-US" b="1" dirty="0">
                          <a:solidFill>
                            <a:schemeClr val="tx1"/>
                          </a:solidFill>
                        </a:rPr>
                        <a:t>电子类设备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1. SMT</a:t>
                      </a:r>
                      <a:r>
                        <a:rPr lang="zh-CN" altLang="en-US" dirty="0">
                          <a:solidFill>
                            <a:schemeClr val="tx1"/>
                          </a:solidFill>
                        </a:rPr>
                        <a:t>表面贴装成套设备。</a:t>
                      </a:r>
                      <a:br>
                        <a:rPr lang="zh-CN" altLang="en-US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2. </a:t>
                      </a:r>
                      <a:r>
                        <a:rPr lang="zh-CN" altLang="en-US" dirty="0">
                          <a:solidFill>
                            <a:schemeClr val="tx1"/>
                          </a:solidFill>
                        </a:rPr>
                        <a:t>手工电烙铁焊接工具等。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35836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00264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98D3563-8FCB-8E49-86BC-5447BBF47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产业结构缺乏平衡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F4B1C33-A27D-8A43-A9C9-FBC2203DCE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81252" y="2057400"/>
            <a:ext cx="3477681" cy="4038600"/>
          </a:xfrm>
        </p:spPr>
        <p:txBody>
          <a:bodyPr>
            <a:noAutofit/>
          </a:bodyPr>
          <a:lstStyle/>
          <a:p>
            <a:r>
              <a:rPr lang="zh-CN" altLang="en-US" sz="2400" dirty="0"/>
              <a:t>斯坦福经过</a:t>
            </a:r>
            <a:r>
              <a:rPr lang="en-US" altLang="zh-CN" sz="2400" dirty="0"/>
              <a:t>OTL</a:t>
            </a:r>
            <a:r>
              <a:rPr lang="zh-CN" altLang="en-US" sz="2400" dirty="0"/>
              <a:t>技术许可后初创公司的</a:t>
            </a:r>
            <a:r>
              <a:rPr lang="en-US" altLang="zh-CN" sz="2400" dirty="0"/>
              <a:t>70-80%</a:t>
            </a:r>
            <a:r>
              <a:rPr lang="zh-CN" altLang="en-US" sz="2400" dirty="0"/>
              <a:t>都是生命科学领域的。这里生命科学领域指的不仅仅是医药类、生物科学类，还包括研究工具，尽管这些是自然科学领域的发明，但也能推动生命科学的进步。综合这两部分，生命科学领域的初创公司大概占</a:t>
            </a:r>
            <a:r>
              <a:rPr lang="en-US" altLang="zh-CN" sz="2400" dirty="0"/>
              <a:t>80%</a:t>
            </a:r>
            <a:r>
              <a:rPr lang="zh-CN" altLang="en-US" sz="2400" dirty="0"/>
              <a:t>。</a:t>
            </a:r>
            <a:endParaRPr kumimoji="1" lang="zh-CN" altLang="en-US" sz="2400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37924201-4A89-FB4D-A050-1C5207483E4C}"/>
              </a:ext>
            </a:extLst>
          </p:cNvPr>
          <p:cNvSpPr txBox="1"/>
          <p:nvPr/>
        </p:nvSpPr>
        <p:spPr>
          <a:xfrm>
            <a:off x="6333071" y="2057399"/>
            <a:ext cx="30310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>
                <a:solidFill>
                  <a:schemeClr val="accent1"/>
                </a:solidFill>
              </a:rPr>
              <a:t>而</a:t>
            </a:r>
            <a:r>
              <a:rPr lang="en-US" altLang="zh-CN" sz="2400" dirty="0" err="1">
                <a:solidFill>
                  <a:schemeClr val="accent1"/>
                </a:solidFill>
              </a:rPr>
              <a:t>iCenter</a:t>
            </a:r>
            <a:r>
              <a:rPr lang="zh-CN" altLang="en-US" sz="2400" dirty="0">
                <a:solidFill>
                  <a:schemeClr val="accent1"/>
                </a:solidFill>
              </a:rPr>
              <a:t>在生物医疗方面的设施投入基本为</a:t>
            </a:r>
            <a:r>
              <a:rPr lang="en-US" altLang="zh-CN" sz="2400" dirty="0">
                <a:solidFill>
                  <a:schemeClr val="accent1"/>
                </a:solidFill>
              </a:rPr>
              <a:t>0.</a:t>
            </a:r>
          </a:p>
          <a:p>
            <a:r>
              <a:rPr lang="en-US" altLang="zh-CN" sz="2400" dirty="0" err="1">
                <a:solidFill>
                  <a:schemeClr val="accent1"/>
                </a:solidFill>
              </a:rPr>
              <a:t>iCenter</a:t>
            </a:r>
            <a:r>
              <a:rPr lang="zh-CN" altLang="en-US" sz="2400" dirty="0">
                <a:solidFill>
                  <a:schemeClr val="accent1"/>
                </a:solidFill>
              </a:rPr>
              <a:t>的产业中心主要在工业制造，大数据与互联网，而忽略了市值前景广泛的半导体产业以及生物医疗产业。</a:t>
            </a:r>
          </a:p>
        </p:txBody>
      </p:sp>
    </p:spTree>
    <p:extLst>
      <p:ext uri="{BB962C8B-B14F-4D97-AF65-F5344CB8AC3E}">
        <p14:creationId xmlns:p14="http://schemas.microsoft.com/office/powerpoint/2010/main" val="7390647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90D50B9-1824-F848-AE2A-E5A1ACE08F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科技影响力不足</a:t>
            </a:r>
            <a:r>
              <a:rPr kumimoji="1" lang="en-US" altLang="zh-CN" dirty="0"/>
              <a:t>--OEM</a:t>
            </a:r>
            <a:endParaRPr kumimoji="1" lang="zh-CN" altLang="en-US" dirty="0"/>
          </a:p>
        </p:txBody>
      </p:sp>
      <p:pic>
        <p:nvPicPr>
          <p:cNvPr id="4" name="内容占位符 3">
            <a:extLst>
              <a:ext uri="{FF2B5EF4-FFF2-40B4-BE49-F238E27FC236}">
                <a16:creationId xmlns:a16="http://schemas.microsoft.com/office/drawing/2014/main" id="{FBCFE151-5A1C-7849-92A1-9760211EBE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674111" y="2053642"/>
            <a:ext cx="2120900" cy="17018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F2E74BC7-813F-604E-B7D5-B7AC28FD7F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6990" y="2267681"/>
            <a:ext cx="3390900" cy="19050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C080BA1D-72EB-3E4F-8038-CB71267064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1429" y="4521374"/>
            <a:ext cx="47244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7865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>
            <a:extLst>
              <a:ext uri="{FF2B5EF4-FFF2-40B4-BE49-F238E27FC236}">
                <a16:creationId xmlns:a16="http://schemas.microsoft.com/office/drawing/2014/main" id="{08CDED4B-12C4-744C-A700-665F37951CBB}"/>
              </a:ext>
            </a:extLst>
          </p:cNvPr>
          <p:cNvSpPr txBox="1"/>
          <p:nvPr/>
        </p:nvSpPr>
        <p:spPr>
          <a:xfrm>
            <a:off x="2367542" y="5612234"/>
            <a:ext cx="41211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/>
              <a:t>图表调查来源</a:t>
            </a:r>
            <a:endParaRPr kumimoji="1" lang="en-US" altLang="zh-CN" dirty="0"/>
          </a:p>
          <a:p>
            <a:r>
              <a:rPr kumimoji="1" lang="en-US" altLang="zh-CN" dirty="0"/>
              <a:t>https://</a:t>
            </a:r>
            <a:r>
              <a:rPr kumimoji="1" lang="en-US" altLang="zh-CN" dirty="0" err="1"/>
              <a:t>www.iresearch.com.cn</a:t>
            </a:r>
            <a:r>
              <a:rPr kumimoji="1" lang="en-US" altLang="zh-CN" dirty="0"/>
              <a:t>/Detail/</a:t>
            </a:r>
            <a:r>
              <a:rPr kumimoji="1" lang="en-US" altLang="zh-CN" dirty="0" err="1"/>
              <a:t>report?id</a:t>
            </a:r>
            <a:r>
              <a:rPr kumimoji="1" lang="en-US" altLang="zh-CN" dirty="0"/>
              <a:t>=3396&amp;isfree=0</a:t>
            </a:r>
            <a:endParaRPr kumimoji="1" lang="zh-CN" altLang="en-US" dirty="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E377906C-6BB4-4165-A212-7040475F3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600" dirty="0" err="1"/>
              <a:t>iCenter</a:t>
            </a:r>
            <a:r>
              <a:rPr lang="en-US" altLang="zh-CN" sz="3600" dirty="0"/>
              <a:t> </a:t>
            </a:r>
            <a:r>
              <a:rPr lang="zh-CN" altLang="en-US" sz="3600" dirty="0"/>
              <a:t>转型的必要性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C81F1C6-BF40-40E8-9548-EE00A8648C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04110" y="2072641"/>
            <a:ext cx="3406664" cy="3774937"/>
          </a:xfrm>
        </p:spPr>
        <p:txBody>
          <a:bodyPr>
            <a:normAutofit lnSpcReduction="10000"/>
          </a:bodyPr>
          <a:lstStyle/>
          <a:p>
            <a:r>
              <a:rPr lang="zh-CN" altLang="en-US" dirty="0">
                <a:solidFill>
                  <a:schemeClr val="tx1"/>
                </a:solidFill>
              </a:rPr>
              <a:t>工业</a:t>
            </a:r>
            <a:r>
              <a:rPr lang="en-US" altLang="zh-CN" dirty="0">
                <a:solidFill>
                  <a:schemeClr val="tx1"/>
                </a:solidFill>
              </a:rPr>
              <a:t>4.0</a:t>
            </a:r>
          </a:p>
          <a:p>
            <a:pPr marL="34290" indent="0">
              <a:buNone/>
            </a:pPr>
            <a:r>
              <a:rPr lang="zh-CN" altLang="en-US" dirty="0"/>
              <a:t>智能工厂</a:t>
            </a:r>
            <a:r>
              <a:rPr lang="en-US" altLang="zh-CN" dirty="0"/>
              <a:t> </a:t>
            </a:r>
            <a:r>
              <a:rPr lang="zh-CN" altLang="en-US" dirty="0"/>
              <a:t>智能生产</a:t>
            </a:r>
            <a:r>
              <a:rPr lang="en-US" altLang="zh-CN" dirty="0"/>
              <a:t> </a:t>
            </a:r>
            <a:r>
              <a:rPr lang="zh-CN" altLang="en-US" dirty="0"/>
              <a:t>智能物流</a:t>
            </a:r>
            <a:endParaRPr lang="en-US" altLang="zh-CN" dirty="0">
              <a:solidFill>
                <a:schemeClr val="tx1"/>
              </a:solidFill>
            </a:endParaRPr>
          </a:p>
          <a:p>
            <a:r>
              <a:rPr lang="en-US" altLang="zh-CN" dirty="0">
                <a:solidFill>
                  <a:schemeClr val="tx1"/>
                </a:solidFill>
              </a:rPr>
              <a:t>5G </a:t>
            </a:r>
          </a:p>
          <a:p>
            <a:pPr marL="34290" indent="0">
              <a:buNone/>
            </a:pPr>
            <a:r>
              <a:rPr lang="zh-CN" altLang="en-US" dirty="0"/>
              <a:t>物联网 协同工作</a:t>
            </a:r>
            <a:endParaRPr lang="en-US" altLang="zh-CN" dirty="0"/>
          </a:p>
          <a:p>
            <a:r>
              <a:rPr lang="zh-CN" altLang="en-US" dirty="0">
                <a:solidFill>
                  <a:schemeClr val="tx1"/>
                </a:solidFill>
              </a:rPr>
              <a:t>大数据与人工智能</a:t>
            </a:r>
            <a:endParaRPr lang="en-US" altLang="zh-CN" dirty="0">
              <a:solidFill>
                <a:schemeClr val="tx1"/>
              </a:solidFill>
            </a:endParaRPr>
          </a:p>
          <a:p>
            <a:pPr marL="34290" indent="0">
              <a:buNone/>
            </a:pPr>
            <a:r>
              <a:rPr lang="zh-CN" altLang="en-US" dirty="0">
                <a:solidFill>
                  <a:schemeClr val="tx1"/>
                </a:solidFill>
              </a:rPr>
              <a:t>人工智能赋能</a:t>
            </a:r>
            <a:endParaRPr lang="en-US" altLang="zh-CN" dirty="0">
              <a:solidFill>
                <a:schemeClr val="tx1"/>
              </a:solidFill>
            </a:endParaRPr>
          </a:p>
          <a:p>
            <a:r>
              <a:rPr lang="zh-CN" altLang="en-US" dirty="0">
                <a:solidFill>
                  <a:schemeClr val="tx1"/>
                </a:solidFill>
              </a:rPr>
              <a:t>半导体产业飞速发展</a:t>
            </a:r>
            <a:endParaRPr lang="en-US" altLang="zh-CN" dirty="0">
              <a:solidFill>
                <a:schemeClr val="tx1"/>
              </a:solidFill>
            </a:endParaRPr>
          </a:p>
          <a:p>
            <a:pPr marL="34290" indent="0">
              <a:buNone/>
            </a:pPr>
            <a:r>
              <a:rPr lang="en-US" altLang="zh-CN" dirty="0"/>
              <a:t>IHS</a:t>
            </a:r>
            <a:r>
              <a:rPr lang="zh-CN" altLang="en-US" dirty="0"/>
              <a:t>预测美国仍然是工业半导体的最大市场，</a:t>
            </a:r>
            <a:r>
              <a:rPr lang="en-US" altLang="zh-CN" dirty="0"/>
              <a:t>2015</a:t>
            </a:r>
            <a:r>
              <a:rPr lang="zh-CN" altLang="en-US" dirty="0"/>
              <a:t>年占全球工业应用所用芯片总数的</a:t>
            </a:r>
            <a:r>
              <a:rPr lang="en-US" altLang="zh-CN" dirty="0"/>
              <a:t>30%</a:t>
            </a:r>
            <a:r>
              <a:rPr lang="zh-CN" altLang="en-US" dirty="0"/>
              <a:t>。而中国则是全球第二大工业</a:t>
            </a:r>
            <a:r>
              <a:rPr lang="en-US" altLang="zh-CN" dirty="0"/>
              <a:t>IC</a:t>
            </a:r>
            <a:r>
              <a:rPr lang="zh-CN" altLang="en-US" dirty="0"/>
              <a:t>市场，占全球总量的</a:t>
            </a:r>
            <a:r>
              <a:rPr lang="en-US" altLang="zh-CN" dirty="0"/>
              <a:t>16%</a:t>
            </a:r>
            <a:r>
              <a:rPr lang="zh-CN" altLang="en-US" dirty="0"/>
              <a:t>。</a:t>
            </a:r>
            <a:endParaRPr lang="zh-CN" altLang="en-US" dirty="0">
              <a:solidFill>
                <a:schemeClr val="tx1"/>
              </a:solidFill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436D166-3E53-234A-9253-5D08321E0A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3855" y="2072640"/>
            <a:ext cx="2576434" cy="1709816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9E734187-95D1-5040-8E7E-051D7F6084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25590" y="4094977"/>
            <a:ext cx="3162300" cy="175260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DF851553-442C-B64D-BEC8-CB6F15FD8B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81251" y="-83964"/>
            <a:ext cx="7406639" cy="6941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5765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1B48DBE-EB73-4C31-AD52-FA135BD921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58390" y="1600201"/>
            <a:ext cx="7475220" cy="202889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altLang="zh-CN" sz="6000" cap="small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Center</a:t>
            </a:r>
            <a:r>
              <a:rPr lang="zh-CN" altLang="en-US" sz="6000" cap="small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状</a:t>
            </a:r>
            <a:endParaRPr lang="zh-CN" altLang="en-US" sz="6000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E746FE19-204A-4A6D-A85C-7F797D5288B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42655468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A82A628-EBE4-4D7D-8A38-3E90238CAA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i</a:t>
            </a:r>
            <a:r>
              <a:rPr lang="en-US" altLang="zh-CN" dirty="0"/>
              <a:t>-Center</a:t>
            </a:r>
            <a:r>
              <a:rPr lang="zh-CN" altLang="en-US" dirty="0"/>
              <a:t>的功能定位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22B8A71-80FB-4067-BFDD-87A2A51FC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grpSp>
        <p:nvGrpSpPr>
          <p:cNvPr id="21" name="168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349033" y="1687168"/>
            <a:ext cx="9492343" cy="4656485"/>
            <a:chOff x="2677886" y="1943100"/>
            <a:chExt cx="6912428" cy="3390903"/>
          </a:xfrm>
        </p:grpSpPr>
        <p:grpSp>
          <p:nvGrpSpPr>
            <p:cNvPr id="23" name="isľíḋé">
              <a:extLst>
                <a:ext uri="{FF2B5EF4-FFF2-40B4-BE49-F238E27FC236}">
                  <a16:creationId xmlns:a16="http://schemas.microsoft.com/office/drawing/2014/main" id="{E3E50F43-BF39-476F-93DD-9B1400CB47AC}"/>
                </a:ext>
              </a:extLst>
            </p:cNvPr>
            <p:cNvGrpSpPr/>
            <p:nvPr/>
          </p:nvGrpSpPr>
          <p:grpSpPr>
            <a:xfrm>
              <a:off x="4432045" y="1943100"/>
              <a:ext cx="3320089" cy="3390903"/>
              <a:chOff x="4027327" y="1529748"/>
              <a:chExt cx="4129528" cy="4217602"/>
            </a:xfrm>
          </p:grpSpPr>
          <p:sp>
            <p:nvSpPr>
              <p:cNvPr id="61" name="îşlíďe">
                <a:extLst>
                  <a:ext uri="{FF2B5EF4-FFF2-40B4-BE49-F238E27FC236}">
                    <a16:creationId xmlns:a16="http://schemas.microsoft.com/office/drawing/2014/main" id="{7DD3E368-7E84-4136-AAA6-EE615E1BA72E}"/>
                  </a:ext>
                </a:extLst>
              </p:cNvPr>
              <p:cNvSpPr/>
              <p:nvPr/>
            </p:nvSpPr>
            <p:spPr>
              <a:xfrm rot="10800000">
                <a:off x="5796856" y="3134694"/>
                <a:ext cx="2359999" cy="500776"/>
              </a:xfrm>
              <a:custGeom>
                <a:avLst/>
                <a:gdLst/>
                <a:ahLst/>
                <a:cxnLst/>
                <a:rect l="l" t="t" r="r" b="b"/>
                <a:pathLst>
                  <a:path w="2359999" h="500776">
                    <a:moveTo>
                      <a:pt x="2070876" y="0"/>
                    </a:moveTo>
                    <a:lnTo>
                      <a:pt x="2359999" y="500776"/>
                    </a:lnTo>
                    <a:lnTo>
                      <a:pt x="0" y="500776"/>
                    </a:lnTo>
                    <a:lnTo>
                      <a:pt x="290110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62" name="ïṡ1ïďe">
                <a:extLst>
                  <a:ext uri="{FF2B5EF4-FFF2-40B4-BE49-F238E27FC236}">
                    <a16:creationId xmlns:a16="http://schemas.microsoft.com/office/drawing/2014/main" id="{3992F5E2-7B66-492B-A497-B1B0C841C51C}"/>
                  </a:ext>
                </a:extLst>
              </p:cNvPr>
              <p:cNvSpPr/>
              <p:nvPr/>
            </p:nvSpPr>
            <p:spPr>
              <a:xfrm rot="7200000">
                <a:off x="3509769" y="2748160"/>
                <a:ext cx="2937600" cy="500776"/>
              </a:xfrm>
              <a:prstGeom prst="trapezoid">
                <a:avLst>
                  <a:gd name="adj" fmla="val 57932"/>
                </a:avLst>
              </a:prstGeom>
              <a:solidFill>
                <a:schemeClr val="accent1"/>
              </a:solidFill>
              <a:ln>
                <a:noFill/>
              </a:ln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63" name="îṡļîḑé">
                <a:extLst>
                  <a:ext uri="{FF2B5EF4-FFF2-40B4-BE49-F238E27FC236}">
                    <a16:creationId xmlns:a16="http://schemas.microsoft.com/office/drawing/2014/main" id="{C6A8E81D-1B16-4344-9E03-C57B817336C5}"/>
                  </a:ext>
                </a:extLst>
              </p:cNvPr>
              <p:cNvSpPr/>
              <p:nvPr/>
            </p:nvSpPr>
            <p:spPr>
              <a:xfrm>
                <a:off x="4027327" y="3646266"/>
                <a:ext cx="2361484" cy="500776"/>
              </a:xfrm>
              <a:custGeom>
                <a:avLst/>
                <a:gdLst/>
                <a:ahLst/>
                <a:cxnLst/>
                <a:rect l="l" t="t" r="r" b="b"/>
                <a:pathLst>
                  <a:path w="2146804" h="455251">
                    <a:moveTo>
                      <a:pt x="263736" y="0"/>
                    </a:moveTo>
                    <a:lnTo>
                      <a:pt x="1883965" y="0"/>
                    </a:lnTo>
                    <a:lnTo>
                      <a:pt x="2146804" y="455251"/>
                    </a:lnTo>
                    <a:lnTo>
                      <a:pt x="0" y="455251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64" name="iśliḓê">
                <a:extLst>
                  <a:ext uri="{FF2B5EF4-FFF2-40B4-BE49-F238E27FC236}">
                    <a16:creationId xmlns:a16="http://schemas.microsoft.com/office/drawing/2014/main" id="{B0F20630-A15F-407A-AE8B-3075EE8D6938}"/>
                  </a:ext>
                </a:extLst>
              </p:cNvPr>
              <p:cNvSpPr/>
              <p:nvPr/>
            </p:nvSpPr>
            <p:spPr>
              <a:xfrm rot="3600000">
                <a:off x="4700712" y="4028162"/>
                <a:ext cx="2937600" cy="500776"/>
              </a:xfrm>
              <a:prstGeom prst="trapezoid">
                <a:avLst>
                  <a:gd name="adj" fmla="val 57932"/>
                </a:avLst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65" name="ïşļîḍè">
                <a:extLst>
                  <a:ext uri="{FF2B5EF4-FFF2-40B4-BE49-F238E27FC236}">
                    <a16:creationId xmlns:a16="http://schemas.microsoft.com/office/drawing/2014/main" id="{BB4369D8-6EFC-4AFC-9AEE-0A0C5033F9DB}"/>
                  </a:ext>
                </a:extLst>
              </p:cNvPr>
              <p:cNvSpPr/>
              <p:nvPr/>
            </p:nvSpPr>
            <p:spPr>
              <a:xfrm rot="14400000">
                <a:off x="4975541" y="3002537"/>
                <a:ext cx="2361484" cy="500776"/>
              </a:xfrm>
              <a:custGeom>
                <a:avLst/>
                <a:gdLst/>
                <a:ahLst/>
                <a:cxnLst/>
                <a:rect l="l" t="t" r="r" b="b"/>
                <a:pathLst>
                  <a:path w="2146804" h="455251">
                    <a:moveTo>
                      <a:pt x="263736" y="0"/>
                    </a:moveTo>
                    <a:lnTo>
                      <a:pt x="1883965" y="0"/>
                    </a:lnTo>
                    <a:lnTo>
                      <a:pt x="2146804" y="455251"/>
                    </a:lnTo>
                    <a:lnTo>
                      <a:pt x="0" y="455251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66" name="î$ḷïḍé">
                <a:extLst>
                  <a:ext uri="{FF2B5EF4-FFF2-40B4-BE49-F238E27FC236}">
                    <a16:creationId xmlns:a16="http://schemas.microsoft.com/office/drawing/2014/main" id="{D39B7020-6435-44A5-9A19-87972CEF149F}"/>
                  </a:ext>
                </a:extLst>
              </p:cNvPr>
              <p:cNvSpPr/>
              <p:nvPr/>
            </p:nvSpPr>
            <p:spPr>
              <a:xfrm rot="18000000">
                <a:off x="5880227" y="4277694"/>
                <a:ext cx="2359999" cy="500776"/>
              </a:xfrm>
              <a:custGeom>
                <a:avLst/>
                <a:gdLst/>
                <a:ahLst/>
                <a:cxnLst/>
                <a:rect l="l" t="t" r="r" b="b"/>
                <a:pathLst>
                  <a:path w="2359999" h="500776">
                    <a:moveTo>
                      <a:pt x="2070876" y="0"/>
                    </a:moveTo>
                    <a:lnTo>
                      <a:pt x="2359999" y="500776"/>
                    </a:lnTo>
                    <a:lnTo>
                      <a:pt x="0" y="500776"/>
                    </a:lnTo>
                    <a:lnTo>
                      <a:pt x="290110" y="0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</p:grpSp>
        <p:grpSp>
          <p:nvGrpSpPr>
            <p:cNvPr id="25" name="îṣ1îḋe">
              <a:extLst>
                <a:ext uri="{FF2B5EF4-FFF2-40B4-BE49-F238E27FC236}">
                  <a16:creationId xmlns:a16="http://schemas.microsoft.com/office/drawing/2014/main" id="{FBD2887C-9E5C-464C-8D73-67D6DE1D46D9}"/>
                </a:ext>
              </a:extLst>
            </p:cNvPr>
            <p:cNvGrpSpPr/>
            <p:nvPr/>
          </p:nvGrpSpPr>
          <p:grpSpPr>
            <a:xfrm>
              <a:off x="2677886" y="2098260"/>
              <a:ext cx="1856014" cy="411766"/>
              <a:chOff x="2677886" y="2344801"/>
              <a:chExt cx="1856014" cy="411766"/>
            </a:xfrm>
          </p:grpSpPr>
          <p:sp>
            <p:nvSpPr>
              <p:cNvPr id="58" name="isḷïḑé">
                <a:extLst>
                  <a:ext uri="{FF2B5EF4-FFF2-40B4-BE49-F238E27FC236}">
                    <a16:creationId xmlns:a16="http://schemas.microsoft.com/office/drawing/2014/main" id="{EA46EBFC-C0CD-4D9A-93D2-3C1089D651F4}"/>
                  </a:ext>
                </a:extLst>
              </p:cNvPr>
              <p:cNvSpPr txBox="1"/>
              <p:nvPr/>
            </p:nvSpPr>
            <p:spPr bwMode="auto">
              <a:xfrm>
                <a:off x="3064328" y="2344801"/>
                <a:ext cx="1469571" cy="41176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工程教育</a:t>
                </a:r>
                <a:endPara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cxnSp>
            <p:nvCxnSpPr>
              <p:cNvPr id="59" name="直接连接符 58">
                <a:extLst>
                  <a:ext uri="{FF2B5EF4-FFF2-40B4-BE49-F238E27FC236}">
                    <a16:creationId xmlns:a16="http://schemas.microsoft.com/office/drawing/2014/main" id="{A60914D1-9360-4C1F-876F-70C6E9AD755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77886" y="2756567"/>
                <a:ext cx="185601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îś1îḋé">
                <a:extLst>
                  <a:ext uri="{FF2B5EF4-FFF2-40B4-BE49-F238E27FC236}">
                    <a16:creationId xmlns:a16="http://schemas.microsoft.com/office/drawing/2014/main" id="{916462D0-ADCC-4185-A9E7-214EE475C03A}"/>
                  </a:ext>
                </a:extLst>
              </p:cNvPr>
              <p:cNvSpPr/>
              <p:nvPr/>
            </p:nvSpPr>
            <p:spPr bwMode="auto">
              <a:xfrm>
                <a:off x="4229058" y="2413000"/>
                <a:ext cx="304842" cy="288904"/>
              </a:xfrm>
              <a:custGeom>
                <a:avLst/>
                <a:gdLst>
                  <a:gd name="T0" fmla="*/ 3025 w 3403"/>
                  <a:gd name="T1" fmla="*/ 97 h 3230"/>
                  <a:gd name="T2" fmla="*/ 2115 w 3403"/>
                  <a:gd name="T3" fmla="*/ 701 h 3230"/>
                  <a:gd name="T4" fmla="*/ 1903 w 3403"/>
                  <a:gd name="T5" fmla="*/ 468 h 3230"/>
                  <a:gd name="T6" fmla="*/ 2010 w 3403"/>
                  <a:gd name="T7" fmla="*/ 232 h 3230"/>
                  <a:gd name="T8" fmla="*/ 1758 w 3403"/>
                  <a:gd name="T9" fmla="*/ 258 h 3230"/>
                  <a:gd name="T10" fmla="*/ 1402 w 3403"/>
                  <a:gd name="T11" fmla="*/ 463 h 3230"/>
                  <a:gd name="T12" fmla="*/ 1066 w 3403"/>
                  <a:gd name="T13" fmla="*/ 281 h 3230"/>
                  <a:gd name="T14" fmla="*/ 1174 w 3403"/>
                  <a:gd name="T15" fmla="*/ 88 h 3230"/>
                  <a:gd name="T16" fmla="*/ 808 w 3403"/>
                  <a:gd name="T17" fmla="*/ 166 h 3230"/>
                  <a:gd name="T18" fmla="*/ 543 w 3403"/>
                  <a:gd name="T19" fmla="*/ 298 h 3230"/>
                  <a:gd name="T20" fmla="*/ 88 w 3403"/>
                  <a:gd name="T21" fmla="*/ 259 h 3230"/>
                  <a:gd name="T22" fmla="*/ 17 w 3403"/>
                  <a:gd name="T23" fmla="*/ 392 h 3230"/>
                  <a:gd name="T24" fmla="*/ 1455 w 3403"/>
                  <a:gd name="T25" fmla="*/ 1190 h 3230"/>
                  <a:gd name="T26" fmla="*/ 675 w 3403"/>
                  <a:gd name="T27" fmla="*/ 2064 h 3230"/>
                  <a:gd name="T28" fmla="*/ 343 w 3403"/>
                  <a:gd name="T29" fmla="*/ 2106 h 3230"/>
                  <a:gd name="T30" fmla="*/ 16 w 3403"/>
                  <a:gd name="T31" fmla="*/ 2229 h 3230"/>
                  <a:gd name="T32" fmla="*/ 450 w 3403"/>
                  <a:gd name="T33" fmla="*/ 2556 h 3230"/>
                  <a:gd name="T34" fmla="*/ 751 w 3403"/>
                  <a:gd name="T35" fmla="*/ 3027 h 3230"/>
                  <a:gd name="T36" fmla="*/ 887 w 3403"/>
                  <a:gd name="T37" fmla="*/ 2925 h 3230"/>
                  <a:gd name="T38" fmla="*/ 886 w 3403"/>
                  <a:gd name="T39" fmla="*/ 2682 h 3230"/>
                  <a:gd name="T40" fmla="*/ 1876 w 3403"/>
                  <a:gd name="T41" fmla="*/ 1694 h 3230"/>
                  <a:gd name="T42" fmla="*/ 2620 w 3403"/>
                  <a:gd name="T43" fmla="*/ 3058 h 3230"/>
                  <a:gd name="T44" fmla="*/ 2792 w 3403"/>
                  <a:gd name="T45" fmla="*/ 2914 h 3230"/>
                  <a:gd name="T46" fmla="*/ 2878 w 3403"/>
                  <a:gd name="T47" fmla="*/ 2564 h 3230"/>
                  <a:gd name="T48" fmla="*/ 3139 w 3403"/>
                  <a:gd name="T49" fmla="*/ 2303 h 3230"/>
                  <a:gd name="T50" fmla="*/ 2860 w 3403"/>
                  <a:gd name="T51" fmla="*/ 2224 h 3230"/>
                  <a:gd name="T52" fmla="*/ 2724 w 3403"/>
                  <a:gd name="T53" fmla="*/ 1988 h 3230"/>
                  <a:gd name="T54" fmla="*/ 2885 w 3403"/>
                  <a:gd name="T55" fmla="*/ 1735 h 3230"/>
                  <a:gd name="T56" fmla="*/ 3078 w 3403"/>
                  <a:gd name="T57" fmla="*/ 1530 h 3230"/>
                  <a:gd name="T58" fmla="*/ 2732 w 3403"/>
                  <a:gd name="T59" fmla="*/ 1409 h 3230"/>
                  <a:gd name="T60" fmla="*/ 2572 w 3403"/>
                  <a:gd name="T61" fmla="*/ 1228 h 3230"/>
                  <a:gd name="T62" fmla="*/ 3241 w 3403"/>
                  <a:gd name="T63" fmla="*/ 456 h 3230"/>
                  <a:gd name="T64" fmla="*/ 3399 w 3403"/>
                  <a:gd name="T65" fmla="*/ 191 h 3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03" h="3230">
                    <a:moveTo>
                      <a:pt x="3231" y="22"/>
                    </a:moveTo>
                    <a:cubicBezTo>
                      <a:pt x="3165" y="21"/>
                      <a:pt x="3087" y="36"/>
                      <a:pt x="3025" y="97"/>
                    </a:cubicBezTo>
                    <a:lnTo>
                      <a:pt x="2361" y="659"/>
                    </a:lnTo>
                    <a:cubicBezTo>
                      <a:pt x="2300" y="711"/>
                      <a:pt x="2190" y="729"/>
                      <a:pt x="2115" y="701"/>
                    </a:cubicBezTo>
                    <a:lnTo>
                      <a:pt x="1956" y="639"/>
                    </a:lnTo>
                    <a:cubicBezTo>
                      <a:pt x="1882" y="611"/>
                      <a:pt x="1858" y="534"/>
                      <a:pt x="1903" y="468"/>
                    </a:cubicBezTo>
                    <a:lnTo>
                      <a:pt x="2015" y="303"/>
                    </a:lnTo>
                    <a:cubicBezTo>
                      <a:pt x="2037" y="272"/>
                      <a:pt x="2028" y="249"/>
                      <a:pt x="2010" y="232"/>
                    </a:cubicBezTo>
                    <a:cubicBezTo>
                      <a:pt x="1979" y="201"/>
                      <a:pt x="1893" y="177"/>
                      <a:pt x="1841" y="199"/>
                    </a:cubicBezTo>
                    <a:cubicBezTo>
                      <a:pt x="1793" y="220"/>
                      <a:pt x="1758" y="258"/>
                      <a:pt x="1758" y="258"/>
                    </a:cubicBezTo>
                    <a:lnTo>
                      <a:pt x="1643" y="383"/>
                    </a:lnTo>
                    <a:cubicBezTo>
                      <a:pt x="1588" y="442"/>
                      <a:pt x="1481" y="478"/>
                      <a:pt x="1402" y="463"/>
                    </a:cubicBezTo>
                    <a:lnTo>
                      <a:pt x="1131" y="413"/>
                    </a:lnTo>
                    <a:cubicBezTo>
                      <a:pt x="1052" y="398"/>
                      <a:pt x="1023" y="339"/>
                      <a:pt x="1066" y="281"/>
                    </a:cubicBezTo>
                    <a:lnTo>
                      <a:pt x="1143" y="177"/>
                    </a:lnTo>
                    <a:cubicBezTo>
                      <a:pt x="1170" y="141"/>
                      <a:pt x="1177" y="112"/>
                      <a:pt x="1174" y="88"/>
                    </a:cubicBezTo>
                    <a:cubicBezTo>
                      <a:pt x="1167" y="35"/>
                      <a:pt x="1068" y="0"/>
                      <a:pt x="1008" y="15"/>
                    </a:cubicBezTo>
                    <a:cubicBezTo>
                      <a:pt x="947" y="30"/>
                      <a:pt x="860" y="106"/>
                      <a:pt x="808" y="166"/>
                    </a:cubicBezTo>
                    <a:lnTo>
                      <a:pt x="783" y="194"/>
                    </a:lnTo>
                    <a:cubicBezTo>
                      <a:pt x="731" y="254"/>
                      <a:pt x="623" y="300"/>
                      <a:pt x="543" y="298"/>
                    </a:cubicBezTo>
                    <a:lnTo>
                      <a:pt x="315" y="289"/>
                    </a:lnTo>
                    <a:cubicBezTo>
                      <a:pt x="235" y="286"/>
                      <a:pt x="136" y="255"/>
                      <a:pt x="88" y="259"/>
                    </a:cubicBezTo>
                    <a:cubicBezTo>
                      <a:pt x="63" y="261"/>
                      <a:pt x="39" y="274"/>
                      <a:pt x="22" y="310"/>
                    </a:cubicBezTo>
                    <a:cubicBezTo>
                      <a:pt x="22" y="310"/>
                      <a:pt x="6" y="352"/>
                      <a:pt x="17" y="392"/>
                    </a:cubicBezTo>
                    <a:cubicBezTo>
                      <a:pt x="30" y="436"/>
                      <a:pt x="128" y="482"/>
                      <a:pt x="198" y="521"/>
                    </a:cubicBezTo>
                    <a:cubicBezTo>
                      <a:pt x="508" y="689"/>
                      <a:pt x="1174" y="1042"/>
                      <a:pt x="1455" y="1190"/>
                    </a:cubicBezTo>
                    <a:cubicBezTo>
                      <a:pt x="1525" y="1227"/>
                      <a:pt x="1534" y="1301"/>
                      <a:pt x="1474" y="1354"/>
                    </a:cubicBezTo>
                    <a:lnTo>
                      <a:pt x="675" y="2064"/>
                    </a:lnTo>
                    <a:cubicBezTo>
                      <a:pt x="615" y="2117"/>
                      <a:pt x="503" y="2145"/>
                      <a:pt x="426" y="2126"/>
                    </a:cubicBezTo>
                    <a:lnTo>
                      <a:pt x="343" y="2106"/>
                    </a:lnTo>
                    <a:cubicBezTo>
                      <a:pt x="265" y="2087"/>
                      <a:pt x="171" y="2068"/>
                      <a:pt x="138" y="2084"/>
                    </a:cubicBezTo>
                    <a:cubicBezTo>
                      <a:pt x="106" y="2100"/>
                      <a:pt x="33" y="2160"/>
                      <a:pt x="16" y="2229"/>
                    </a:cubicBezTo>
                    <a:cubicBezTo>
                      <a:pt x="0" y="2297"/>
                      <a:pt x="113" y="2381"/>
                      <a:pt x="187" y="2411"/>
                    </a:cubicBezTo>
                    <a:cubicBezTo>
                      <a:pt x="276" y="2448"/>
                      <a:pt x="384" y="2486"/>
                      <a:pt x="450" y="2556"/>
                    </a:cubicBezTo>
                    <a:cubicBezTo>
                      <a:pt x="534" y="2647"/>
                      <a:pt x="587" y="2760"/>
                      <a:pt x="619" y="2847"/>
                    </a:cubicBezTo>
                    <a:cubicBezTo>
                      <a:pt x="647" y="2922"/>
                      <a:pt x="693" y="3036"/>
                      <a:pt x="751" y="3027"/>
                    </a:cubicBezTo>
                    <a:cubicBezTo>
                      <a:pt x="800" y="3019"/>
                      <a:pt x="841" y="2975"/>
                      <a:pt x="841" y="2975"/>
                    </a:cubicBezTo>
                    <a:cubicBezTo>
                      <a:pt x="841" y="2975"/>
                      <a:pt x="861" y="2953"/>
                      <a:pt x="887" y="2925"/>
                    </a:cubicBezTo>
                    <a:cubicBezTo>
                      <a:pt x="912" y="2897"/>
                      <a:pt x="917" y="2812"/>
                      <a:pt x="898" y="2734"/>
                    </a:cubicBezTo>
                    <a:lnTo>
                      <a:pt x="886" y="2682"/>
                    </a:lnTo>
                    <a:cubicBezTo>
                      <a:pt x="867" y="2604"/>
                      <a:pt x="902" y="2500"/>
                      <a:pt x="963" y="2449"/>
                    </a:cubicBezTo>
                    <a:lnTo>
                      <a:pt x="1876" y="1694"/>
                    </a:lnTo>
                    <a:cubicBezTo>
                      <a:pt x="1938" y="1643"/>
                      <a:pt x="2014" y="1661"/>
                      <a:pt x="2046" y="1735"/>
                    </a:cubicBezTo>
                    <a:lnTo>
                      <a:pt x="2620" y="3058"/>
                    </a:lnTo>
                    <a:cubicBezTo>
                      <a:pt x="2652" y="3131"/>
                      <a:pt x="2767" y="3230"/>
                      <a:pt x="2792" y="3154"/>
                    </a:cubicBezTo>
                    <a:cubicBezTo>
                      <a:pt x="2806" y="3111"/>
                      <a:pt x="2810" y="3037"/>
                      <a:pt x="2792" y="2914"/>
                    </a:cubicBezTo>
                    <a:cubicBezTo>
                      <a:pt x="2792" y="2914"/>
                      <a:pt x="2786" y="2856"/>
                      <a:pt x="2779" y="2784"/>
                    </a:cubicBezTo>
                    <a:cubicBezTo>
                      <a:pt x="2771" y="2713"/>
                      <a:pt x="2815" y="2614"/>
                      <a:pt x="2878" y="2564"/>
                    </a:cubicBezTo>
                    <a:lnTo>
                      <a:pt x="3064" y="2414"/>
                    </a:lnTo>
                    <a:cubicBezTo>
                      <a:pt x="3064" y="2414"/>
                      <a:pt x="3118" y="2373"/>
                      <a:pt x="3139" y="2303"/>
                    </a:cubicBezTo>
                    <a:cubicBezTo>
                      <a:pt x="3160" y="2230"/>
                      <a:pt x="3103" y="2133"/>
                      <a:pt x="3056" y="2140"/>
                    </a:cubicBezTo>
                    <a:cubicBezTo>
                      <a:pt x="3009" y="2147"/>
                      <a:pt x="2924" y="2194"/>
                      <a:pt x="2860" y="2224"/>
                    </a:cubicBezTo>
                    <a:cubicBezTo>
                      <a:pt x="2796" y="2253"/>
                      <a:pt x="2739" y="2213"/>
                      <a:pt x="2734" y="2133"/>
                    </a:cubicBezTo>
                    <a:lnTo>
                      <a:pt x="2724" y="1988"/>
                    </a:lnTo>
                    <a:cubicBezTo>
                      <a:pt x="2719" y="1908"/>
                      <a:pt x="2769" y="1808"/>
                      <a:pt x="2837" y="1765"/>
                    </a:cubicBezTo>
                    <a:lnTo>
                      <a:pt x="2885" y="1735"/>
                    </a:lnTo>
                    <a:cubicBezTo>
                      <a:pt x="2953" y="1692"/>
                      <a:pt x="3053" y="1607"/>
                      <a:pt x="3078" y="1531"/>
                    </a:cubicBezTo>
                    <a:cubicBezTo>
                      <a:pt x="3078" y="1531"/>
                      <a:pt x="3078" y="1531"/>
                      <a:pt x="3078" y="1530"/>
                    </a:cubicBezTo>
                    <a:cubicBezTo>
                      <a:pt x="3103" y="1454"/>
                      <a:pt x="3027" y="1359"/>
                      <a:pt x="2970" y="1355"/>
                    </a:cubicBezTo>
                    <a:cubicBezTo>
                      <a:pt x="2914" y="1351"/>
                      <a:pt x="2809" y="1389"/>
                      <a:pt x="2732" y="1409"/>
                    </a:cubicBezTo>
                    <a:cubicBezTo>
                      <a:pt x="2656" y="1429"/>
                      <a:pt x="2587" y="1381"/>
                      <a:pt x="2579" y="1301"/>
                    </a:cubicBezTo>
                    <a:lnTo>
                      <a:pt x="2572" y="1228"/>
                    </a:lnTo>
                    <a:cubicBezTo>
                      <a:pt x="2564" y="1148"/>
                      <a:pt x="2605" y="1040"/>
                      <a:pt x="2664" y="985"/>
                    </a:cubicBezTo>
                    <a:lnTo>
                      <a:pt x="3241" y="456"/>
                    </a:lnTo>
                    <a:cubicBezTo>
                      <a:pt x="3300" y="402"/>
                      <a:pt x="3385" y="301"/>
                      <a:pt x="3396" y="222"/>
                    </a:cubicBezTo>
                    <a:cubicBezTo>
                      <a:pt x="3398" y="212"/>
                      <a:pt x="3399" y="202"/>
                      <a:pt x="3399" y="191"/>
                    </a:cubicBezTo>
                    <a:cubicBezTo>
                      <a:pt x="3403" y="111"/>
                      <a:pt x="3311" y="24"/>
                      <a:pt x="3231" y="2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</p:grpSp>
        <p:grpSp>
          <p:nvGrpSpPr>
            <p:cNvPr id="26" name="ï$ļïḍé">
              <a:extLst>
                <a:ext uri="{FF2B5EF4-FFF2-40B4-BE49-F238E27FC236}">
                  <a16:creationId xmlns:a16="http://schemas.microsoft.com/office/drawing/2014/main" id="{410E959B-E302-4ECD-BF52-FD96614CFBF3}"/>
                </a:ext>
              </a:extLst>
            </p:cNvPr>
            <p:cNvGrpSpPr/>
            <p:nvPr/>
          </p:nvGrpSpPr>
          <p:grpSpPr>
            <a:xfrm>
              <a:off x="2677886" y="3066220"/>
              <a:ext cx="1856014" cy="411766"/>
              <a:chOff x="2677886" y="2344801"/>
              <a:chExt cx="1856014" cy="411766"/>
            </a:xfrm>
          </p:grpSpPr>
          <p:sp>
            <p:nvSpPr>
              <p:cNvPr id="54" name="î$ḻîḋê">
                <a:extLst>
                  <a:ext uri="{FF2B5EF4-FFF2-40B4-BE49-F238E27FC236}">
                    <a16:creationId xmlns:a16="http://schemas.microsoft.com/office/drawing/2014/main" id="{ED3FEE54-535D-40EC-8645-0DF4CCF2AD71}"/>
                  </a:ext>
                </a:extLst>
              </p:cNvPr>
              <p:cNvSpPr txBox="1"/>
              <p:nvPr/>
            </p:nvSpPr>
            <p:spPr bwMode="auto">
              <a:xfrm>
                <a:off x="3058322" y="2344801"/>
                <a:ext cx="1475577" cy="41176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通识教育</a:t>
                </a:r>
                <a:endPara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cxnSp>
            <p:nvCxnSpPr>
              <p:cNvPr id="55" name="直接连接符 54">
                <a:extLst>
                  <a:ext uri="{FF2B5EF4-FFF2-40B4-BE49-F238E27FC236}">
                    <a16:creationId xmlns:a16="http://schemas.microsoft.com/office/drawing/2014/main" id="{B8DD8628-2BD0-441E-AD01-600E3E64FA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77886" y="2756567"/>
                <a:ext cx="185601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íŝḻïḍé">
                <a:extLst>
                  <a:ext uri="{FF2B5EF4-FFF2-40B4-BE49-F238E27FC236}">
                    <a16:creationId xmlns:a16="http://schemas.microsoft.com/office/drawing/2014/main" id="{E75C575C-3F47-44EA-B7F3-68D3F2E7AD2E}"/>
                  </a:ext>
                </a:extLst>
              </p:cNvPr>
              <p:cNvSpPr/>
              <p:nvPr/>
            </p:nvSpPr>
            <p:spPr bwMode="auto">
              <a:xfrm>
                <a:off x="4229058" y="2413000"/>
                <a:ext cx="304842" cy="288904"/>
              </a:xfrm>
              <a:custGeom>
                <a:avLst/>
                <a:gdLst>
                  <a:gd name="T0" fmla="*/ 3025 w 3403"/>
                  <a:gd name="T1" fmla="*/ 97 h 3230"/>
                  <a:gd name="T2" fmla="*/ 2115 w 3403"/>
                  <a:gd name="T3" fmla="*/ 701 h 3230"/>
                  <a:gd name="T4" fmla="*/ 1903 w 3403"/>
                  <a:gd name="T5" fmla="*/ 468 h 3230"/>
                  <a:gd name="T6" fmla="*/ 2010 w 3403"/>
                  <a:gd name="T7" fmla="*/ 232 h 3230"/>
                  <a:gd name="T8" fmla="*/ 1758 w 3403"/>
                  <a:gd name="T9" fmla="*/ 258 h 3230"/>
                  <a:gd name="T10" fmla="*/ 1402 w 3403"/>
                  <a:gd name="T11" fmla="*/ 463 h 3230"/>
                  <a:gd name="T12" fmla="*/ 1066 w 3403"/>
                  <a:gd name="T13" fmla="*/ 281 h 3230"/>
                  <a:gd name="T14" fmla="*/ 1174 w 3403"/>
                  <a:gd name="T15" fmla="*/ 88 h 3230"/>
                  <a:gd name="T16" fmla="*/ 808 w 3403"/>
                  <a:gd name="T17" fmla="*/ 166 h 3230"/>
                  <a:gd name="T18" fmla="*/ 543 w 3403"/>
                  <a:gd name="T19" fmla="*/ 298 h 3230"/>
                  <a:gd name="T20" fmla="*/ 88 w 3403"/>
                  <a:gd name="T21" fmla="*/ 259 h 3230"/>
                  <a:gd name="T22" fmla="*/ 17 w 3403"/>
                  <a:gd name="T23" fmla="*/ 392 h 3230"/>
                  <a:gd name="T24" fmla="*/ 1455 w 3403"/>
                  <a:gd name="T25" fmla="*/ 1190 h 3230"/>
                  <a:gd name="T26" fmla="*/ 675 w 3403"/>
                  <a:gd name="T27" fmla="*/ 2064 h 3230"/>
                  <a:gd name="T28" fmla="*/ 343 w 3403"/>
                  <a:gd name="T29" fmla="*/ 2106 h 3230"/>
                  <a:gd name="T30" fmla="*/ 16 w 3403"/>
                  <a:gd name="T31" fmla="*/ 2229 h 3230"/>
                  <a:gd name="T32" fmla="*/ 450 w 3403"/>
                  <a:gd name="T33" fmla="*/ 2556 h 3230"/>
                  <a:gd name="T34" fmla="*/ 751 w 3403"/>
                  <a:gd name="T35" fmla="*/ 3027 h 3230"/>
                  <a:gd name="T36" fmla="*/ 887 w 3403"/>
                  <a:gd name="T37" fmla="*/ 2925 h 3230"/>
                  <a:gd name="T38" fmla="*/ 886 w 3403"/>
                  <a:gd name="T39" fmla="*/ 2682 h 3230"/>
                  <a:gd name="T40" fmla="*/ 1876 w 3403"/>
                  <a:gd name="T41" fmla="*/ 1694 h 3230"/>
                  <a:gd name="T42" fmla="*/ 2620 w 3403"/>
                  <a:gd name="T43" fmla="*/ 3058 h 3230"/>
                  <a:gd name="T44" fmla="*/ 2792 w 3403"/>
                  <a:gd name="T45" fmla="*/ 2914 h 3230"/>
                  <a:gd name="T46" fmla="*/ 2878 w 3403"/>
                  <a:gd name="T47" fmla="*/ 2564 h 3230"/>
                  <a:gd name="T48" fmla="*/ 3139 w 3403"/>
                  <a:gd name="T49" fmla="*/ 2303 h 3230"/>
                  <a:gd name="T50" fmla="*/ 2860 w 3403"/>
                  <a:gd name="T51" fmla="*/ 2224 h 3230"/>
                  <a:gd name="T52" fmla="*/ 2724 w 3403"/>
                  <a:gd name="T53" fmla="*/ 1988 h 3230"/>
                  <a:gd name="T54" fmla="*/ 2885 w 3403"/>
                  <a:gd name="T55" fmla="*/ 1735 h 3230"/>
                  <a:gd name="T56" fmla="*/ 3078 w 3403"/>
                  <a:gd name="T57" fmla="*/ 1530 h 3230"/>
                  <a:gd name="T58" fmla="*/ 2732 w 3403"/>
                  <a:gd name="T59" fmla="*/ 1409 h 3230"/>
                  <a:gd name="T60" fmla="*/ 2572 w 3403"/>
                  <a:gd name="T61" fmla="*/ 1228 h 3230"/>
                  <a:gd name="T62" fmla="*/ 3241 w 3403"/>
                  <a:gd name="T63" fmla="*/ 456 h 3230"/>
                  <a:gd name="T64" fmla="*/ 3399 w 3403"/>
                  <a:gd name="T65" fmla="*/ 191 h 3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03" h="3230">
                    <a:moveTo>
                      <a:pt x="3231" y="22"/>
                    </a:moveTo>
                    <a:cubicBezTo>
                      <a:pt x="3165" y="21"/>
                      <a:pt x="3087" y="36"/>
                      <a:pt x="3025" y="97"/>
                    </a:cubicBezTo>
                    <a:lnTo>
                      <a:pt x="2361" y="659"/>
                    </a:lnTo>
                    <a:cubicBezTo>
                      <a:pt x="2300" y="711"/>
                      <a:pt x="2190" y="729"/>
                      <a:pt x="2115" y="701"/>
                    </a:cubicBezTo>
                    <a:lnTo>
                      <a:pt x="1956" y="639"/>
                    </a:lnTo>
                    <a:cubicBezTo>
                      <a:pt x="1882" y="611"/>
                      <a:pt x="1858" y="534"/>
                      <a:pt x="1903" y="468"/>
                    </a:cubicBezTo>
                    <a:lnTo>
                      <a:pt x="2015" y="303"/>
                    </a:lnTo>
                    <a:cubicBezTo>
                      <a:pt x="2037" y="272"/>
                      <a:pt x="2028" y="249"/>
                      <a:pt x="2010" y="232"/>
                    </a:cubicBezTo>
                    <a:cubicBezTo>
                      <a:pt x="1979" y="201"/>
                      <a:pt x="1893" y="177"/>
                      <a:pt x="1841" y="199"/>
                    </a:cubicBezTo>
                    <a:cubicBezTo>
                      <a:pt x="1793" y="220"/>
                      <a:pt x="1758" y="258"/>
                      <a:pt x="1758" y="258"/>
                    </a:cubicBezTo>
                    <a:lnTo>
                      <a:pt x="1643" y="383"/>
                    </a:lnTo>
                    <a:cubicBezTo>
                      <a:pt x="1588" y="442"/>
                      <a:pt x="1481" y="478"/>
                      <a:pt x="1402" y="463"/>
                    </a:cubicBezTo>
                    <a:lnTo>
                      <a:pt x="1131" y="413"/>
                    </a:lnTo>
                    <a:cubicBezTo>
                      <a:pt x="1052" y="398"/>
                      <a:pt x="1023" y="339"/>
                      <a:pt x="1066" y="281"/>
                    </a:cubicBezTo>
                    <a:lnTo>
                      <a:pt x="1143" y="177"/>
                    </a:lnTo>
                    <a:cubicBezTo>
                      <a:pt x="1170" y="141"/>
                      <a:pt x="1177" y="112"/>
                      <a:pt x="1174" y="88"/>
                    </a:cubicBezTo>
                    <a:cubicBezTo>
                      <a:pt x="1167" y="35"/>
                      <a:pt x="1068" y="0"/>
                      <a:pt x="1008" y="15"/>
                    </a:cubicBezTo>
                    <a:cubicBezTo>
                      <a:pt x="947" y="30"/>
                      <a:pt x="860" y="106"/>
                      <a:pt x="808" y="166"/>
                    </a:cubicBezTo>
                    <a:lnTo>
                      <a:pt x="783" y="194"/>
                    </a:lnTo>
                    <a:cubicBezTo>
                      <a:pt x="731" y="254"/>
                      <a:pt x="623" y="300"/>
                      <a:pt x="543" y="298"/>
                    </a:cubicBezTo>
                    <a:lnTo>
                      <a:pt x="315" y="289"/>
                    </a:lnTo>
                    <a:cubicBezTo>
                      <a:pt x="235" y="286"/>
                      <a:pt x="136" y="255"/>
                      <a:pt x="88" y="259"/>
                    </a:cubicBezTo>
                    <a:cubicBezTo>
                      <a:pt x="63" y="261"/>
                      <a:pt x="39" y="274"/>
                      <a:pt x="22" y="310"/>
                    </a:cubicBezTo>
                    <a:cubicBezTo>
                      <a:pt x="22" y="310"/>
                      <a:pt x="6" y="352"/>
                      <a:pt x="17" y="392"/>
                    </a:cubicBezTo>
                    <a:cubicBezTo>
                      <a:pt x="30" y="436"/>
                      <a:pt x="128" y="482"/>
                      <a:pt x="198" y="521"/>
                    </a:cubicBezTo>
                    <a:cubicBezTo>
                      <a:pt x="508" y="689"/>
                      <a:pt x="1174" y="1042"/>
                      <a:pt x="1455" y="1190"/>
                    </a:cubicBezTo>
                    <a:cubicBezTo>
                      <a:pt x="1525" y="1227"/>
                      <a:pt x="1534" y="1301"/>
                      <a:pt x="1474" y="1354"/>
                    </a:cubicBezTo>
                    <a:lnTo>
                      <a:pt x="675" y="2064"/>
                    </a:lnTo>
                    <a:cubicBezTo>
                      <a:pt x="615" y="2117"/>
                      <a:pt x="503" y="2145"/>
                      <a:pt x="426" y="2126"/>
                    </a:cubicBezTo>
                    <a:lnTo>
                      <a:pt x="343" y="2106"/>
                    </a:lnTo>
                    <a:cubicBezTo>
                      <a:pt x="265" y="2087"/>
                      <a:pt x="171" y="2068"/>
                      <a:pt x="138" y="2084"/>
                    </a:cubicBezTo>
                    <a:cubicBezTo>
                      <a:pt x="106" y="2100"/>
                      <a:pt x="33" y="2160"/>
                      <a:pt x="16" y="2229"/>
                    </a:cubicBezTo>
                    <a:cubicBezTo>
                      <a:pt x="0" y="2297"/>
                      <a:pt x="113" y="2381"/>
                      <a:pt x="187" y="2411"/>
                    </a:cubicBezTo>
                    <a:cubicBezTo>
                      <a:pt x="276" y="2448"/>
                      <a:pt x="384" y="2486"/>
                      <a:pt x="450" y="2556"/>
                    </a:cubicBezTo>
                    <a:cubicBezTo>
                      <a:pt x="534" y="2647"/>
                      <a:pt x="587" y="2760"/>
                      <a:pt x="619" y="2847"/>
                    </a:cubicBezTo>
                    <a:cubicBezTo>
                      <a:pt x="647" y="2922"/>
                      <a:pt x="693" y="3036"/>
                      <a:pt x="751" y="3027"/>
                    </a:cubicBezTo>
                    <a:cubicBezTo>
                      <a:pt x="800" y="3019"/>
                      <a:pt x="841" y="2975"/>
                      <a:pt x="841" y="2975"/>
                    </a:cubicBezTo>
                    <a:cubicBezTo>
                      <a:pt x="841" y="2975"/>
                      <a:pt x="861" y="2953"/>
                      <a:pt x="887" y="2925"/>
                    </a:cubicBezTo>
                    <a:cubicBezTo>
                      <a:pt x="912" y="2897"/>
                      <a:pt x="917" y="2812"/>
                      <a:pt x="898" y="2734"/>
                    </a:cubicBezTo>
                    <a:lnTo>
                      <a:pt x="886" y="2682"/>
                    </a:lnTo>
                    <a:cubicBezTo>
                      <a:pt x="867" y="2604"/>
                      <a:pt x="902" y="2500"/>
                      <a:pt x="963" y="2449"/>
                    </a:cubicBezTo>
                    <a:lnTo>
                      <a:pt x="1876" y="1694"/>
                    </a:lnTo>
                    <a:cubicBezTo>
                      <a:pt x="1938" y="1643"/>
                      <a:pt x="2014" y="1661"/>
                      <a:pt x="2046" y="1735"/>
                    </a:cubicBezTo>
                    <a:lnTo>
                      <a:pt x="2620" y="3058"/>
                    </a:lnTo>
                    <a:cubicBezTo>
                      <a:pt x="2652" y="3131"/>
                      <a:pt x="2767" y="3230"/>
                      <a:pt x="2792" y="3154"/>
                    </a:cubicBezTo>
                    <a:cubicBezTo>
                      <a:pt x="2806" y="3111"/>
                      <a:pt x="2810" y="3037"/>
                      <a:pt x="2792" y="2914"/>
                    </a:cubicBezTo>
                    <a:cubicBezTo>
                      <a:pt x="2792" y="2914"/>
                      <a:pt x="2786" y="2856"/>
                      <a:pt x="2779" y="2784"/>
                    </a:cubicBezTo>
                    <a:cubicBezTo>
                      <a:pt x="2771" y="2713"/>
                      <a:pt x="2815" y="2614"/>
                      <a:pt x="2878" y="2564"/>
                    </a:cubicBezTo>
                    <a:lnTo>
                      <a:pt x="3064" y="2414"/>
                    </a:lnTo>
                    <a:cubicBezTo>
                      <a:pt x="3064" y="2414"/>
                      <a:pt x="3118" y="2373"/>
                      <a:pt x="3139" y="2303"/>
                    </a:cubicBezTo>
                    <a:cubicBezTo>
                      <a:pt x="3160" y="2230"/>
                      <a:pt x="3103" y="2133"/>
                      <a:pt x="3056" y="2140"/>
                    </a:cubicBezTo>
                    <a:cubicBezTo>
                      <a:pt x="3009" y="2147"/>
                      <a:pt x="2924" y="2194"/>
                      <a:pt x="2860" y="2224"/>
                    </a:cubicBezTo>
                    <a:cubicBezTo>
                      <a:pt x="2796" y="2253"/>
                      <a:pt x="2739" y="2213"/>
                      <a:pt x="2734" y="2133"/>
                    </a:cubicBezTo>
                    <a:lnTo>
                      <a:pt x="2724" y="1988"/>
                    </a:lnTo>
                    <a:cubicBezTo>
                      <a:pt x="2719" y="1908"/>
                      <a:pt x="2769" y="1808"/>
                      <a:pt x="2837" y="1765"/>
                    </a:cubicBezTo>
                    <a:lnTo>
                      <a:pt x="2885" y="1735"/>
                    </a:lnTo>
                    <a:cubicBezTo>
                      <a:pt x="2953" y="1692"/>
                      <a:pt x="3053" y="1607"/>
                      <a:pt x="3078" y="1531"/>
                    </a:cubicBezTo>
                    <a:cubicBezTo>
                      <a:pt x="3078" y="1531"/>
                      <a:pt x="3078" y="1531"/>
                      <a:pt x="3078" y="1530"/>
                    </a:cubicBezTo>
                    <a:cubicBezTo>
                      <a:pt x="3103" y="1454"/>
                      <a:pt x="3027" y="1359"/>
                      <a:pt x="2970" y="1355"/>
                    </a:cubicBezTo>
                    <a:cubicBezTo>
                      <a:pt x="2914" y="1351"/>
                      <a:pt x="2809" y="1389"/>
                      <a:pt x="2732" y="1409"/>
                    </a:cubicBezTo>
                    <a:cubicBezTo>
                      <a:pt x="2656" y="1429"/>
                      <a:pt x="2587" y="1381"/>
                      <a:pt x="2579" y="1301"/>
                    </a:cubicBezTo>
                    <a:lnTo>
                      <a:pt x="2572" y="1228"/>
                    </a:lnTo>
                    <a:cubicBezTo>
                      <a:pt x="2564" y="1148"/>
                      <a:pt x="2605" y="1040"/>
                      <a:pt x="2664" y="985"/>
                    </a:cubicBezTo>
                    <a:lnTo>
                      <a:pt x="3241" y="456"/>
                    </a:lnTo>
                    <a:cubicBezTo>
                      <a:pt x="3300" y="402"/>
                      <a:pt x="3385" y="301"/>
                      <a:pt x="3396" y="222"/>
                    </a:cubicBezTo>
                    <a:cubicBezTo>
                      <a:pt x="3398" y="212"/>
                      <a:pt x="3399" y="202"/>
                      <a:pt x="3399" y="191"/>
                    </a:cubicBezTo>
                    <a:cubicBezTo>
                      <a:pt x="3403" y="111"/>
                      <a:pt x="3311" y="24"/>
                      <a:pt x="3231" y="2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</p:grpSp>
        <p:grpSp>
          <p:nvGrpSpPr>
            <p:cNvPr id="27" name="íśľidé">
              <a:extLst>
                <a:ext uri="{FF2B5EF4-FFF2-40B4-BE49-F238E27FC236}">
                  <a16:creationId xmlns:a16="http://schemas.microsoft.com/office/drawing/2014/main" id="{3B8C094E-7CA0-4AAA-A331-E6B0EEAD999F}"/>
                </a:ext>
              </a:extLst>
            </p:cNvPr>
            <p:cNvGrpSpPr/>
            <p:nvPr/>
          </p:nvGrpSpPr>
          <p:grpSpPr>
            <a:xfrm>
              <a:off x="7659688" y="3361309"/>
              <a:ext cx="1794555" cy="411766"/>
              <a:chOff x="7659688" y="1130300"/>
              <a:chExt cx="1794555" cy="411766"/>
            </a:xfrm>
          </p:grpSpPr>
          <p:sp>
            <p:nvSpPr>
              <p:cNvPr id="50" name="işlide">
                <a:extLst>
                  <a:ext uri="{FF2B5EF4-FFF2-40B4-BE49-F238E27FC236}">
                    <a16:creationId xmlns:a16="http://schemas.microsoft.com/office/drawing/2014/main" id="{D524002C-6C2D-40AF-A3F3-6EEC79E2C197}"/>
                  </a:ext>
                </a:extLst>
              </p:cNvPr>
              <p:cNvSpPr txBox="1"/>
              <p:nvPr/>
            </p:nvSpPr>
            <p:spPr bwMode="auto">
              <a:xfrm>
                <a:off x="7659688" y="1130300"/>
                <a:ext cx="1529576" cy="41176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r" defTabSz="914377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创新教育</a:t>
                </a:r>
                <a:endPara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cxnSp>
            <p:nvCxnSpPr>
              <p:cNvPr id="51" name="直接连接符 50">
                <a:extLst>
                  <a:ext uri="{FF2B5EF4-FFF2-40B4-BE49-F238E27FC236}">
                    <a16:creationId xmlns:a16="http://schemas.microsoft.com/office/drawing/2014/main" id="{7E1D3F2A-E761-4CEE-AFCF-37044EF368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659688" y="1542066"/>
                <a:ext cx="1794555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íSḻidê">
                <a:extLst>
                  <a:ext uri="{FF2B5EF4-FFF2-40B4-BE49-F238E27FC236}">
                    <a16:creationId xmlns:a16="http://schemas.microsoft.com/office/drawing/2014/main" id="{81EDAC8C-AE1F-4D11-9501-FF51D3A486F2}"/>
                  </a:ext>
                </a:extLst>
              </p:cNvPr>
              <p:cNvSpPr/>
              <p:nvPr/>
            </p:nvSpPr>
            <p:spPr bwMode="auto">
              <a:xfrm>
                <a:off x="7659688" y="1198499"/>
                <a:ext cx="304842" cy="288904"/>
              </a:xfrm>
              <a:custGeom>
                <a:avLst/>
                <a:gdLst>
                  <a:gd name="T0" fmla="*/ 3025 w 3403"/>
                  <a:gd name="T1" fmla="*/ 97 h 3230"/>
                  <a:gd name="T2" fmla="*/ 2115 w 3403"/>
                  <a:gd name="T3" fmla="*/ 701 h 3230"/>
                  <a:gd name="T4" fmla="*/ 1903 w 3403"/>
                  <a:gd name="T5" fmla="*/ 468 h 3230"/>
                  <a:gd name="T6" fmla="*/ 2010 w 3403"/>
                  <a:gd name="T7" fmla="*/ 232 h 3230"/>
                  <a:gd name="T8" fmla="*/ 1758 w 3403"/>
                  <a:gd name="T9" fmla="*/ 258 h 3230"/>
                  <a:gd name="T10" fmla="*/ 1402 w 3403"/>
                  <a:gd name="T11" fmla="*/ 463 h 3230"/>
                  <a:gd name="T12" fmla="*/ 1066 w 3403"/>
                  <a:gd name="T13" fmla="*/ 281 h 3230"/>
                  <a:gd name="T14" fmla="*/ 1174 w 3403"/>
                  <a:gd name="T15" fmla="*/ 88 h 3230"/>
                  <a:gd name="T16" fmla="*/ 808 w 3403"/>
                  <a:gd name="T17" fmla="*/ 166 h 3230"/>
                  <a:gd name="T18" fmla="*/ 543 w 3403"/>
                  <a:gd name="T19" fmla="*/ 298 h 3230"/>
                  <a:gd name="T20" fmla="*/ 88 w 3403"/>
                  <a:gd name="T21" fmla="*/ 259 h 3230"/>
                  <a:gd name="T22" fmla="*/ 17 w 3403"/>
                  <a:gd name="T23" fmla="*/ 392 h 3230"/>
                  <a:gd name="T24" fmla="*/ 1455 w 3403"/>
                  <a:gd name="T25" fmla="*/ 1190 h 3230"/>
                  <a:gd name="T26" fmla="*/ 675 w 3403"/>
                  <a:gd name="T27" fmla="*/ 2064 h 3230"/>
                  <a:gd name="T28" fmla="*/ 343 w 3403"/>
                  <a:gd name="T29" fmla="*/ 2106 h 3230"/>
                  <a:gd name="T30" fmla="*/ 16 w 3403"/>
                  <a:gd name="T31" fmla="*/ 2229 h 3230"/>
                  <a:gd name="T32" fmla="*/ 450 w 3403"/>
                  <a:gd name="T33" fmla="*/ 2556 h 3230"/>
                  <a:gd name="T34" fmla="*/ 751 w 3403"/>
                  <a:gd name="T35" fmla="*/ 3027 h 3230"/>
                  <a:gd name="T36" fmla="*/ 887 w 3403"/>
                  <a:gd name="T37" fmla="*/ 2925 h 3230"/>
                  <a:gd name="T38" fmla="*/ 886 w 3403"/>
                  <a:gd name="T39" fmla="*/ 2682 h 3230"/>
                  <a:gd name="T40" fmla="*/ 1876 w 3403"/>
                  <a:gd name="T41" fmla="*/ 1694 h 3230"/>
                  <a:gd name="T42" fmla="*/ 2620 w 3403"/>
                  <a:gd name="T43" fmla="*/ 3058 h 3230"/>
                  <a:gd name="T44" fmla="*/ 2792 w 3403"/>
                  <a:gd name="T45" fmla="*/ 2914 h 3230"/>
                  <a:gd name="T46" fmla="*/ 2878 w 3403"/>
                  <a:gd name="T47" fmla="*/ 2564 h 3230"/>
                  <a:gd name="T48" fmla="*/ 3139 w 3403"/>
                  <a:gd name="T49" fmla="*/ 2303 h 3230"/>
                  <a:gd name="T50" fmla="*/ 2860 w 3403"/>
                  <a:gd name="T51" fmla="*/ 2224 h 3230"/>
                  <a:gd name="T52" fmla="*/ 2724 w 3403"/>
                  <a:gd name="T53" fmla="*/ 1988 h 3230"/>
                  <a:gd name="T54" fmla="*/ 2885 w 3403"/>
                  <a:gd name="T55" fmla="*/ 1735 h 3230"/>
                  <a:gd name="T56" fmla="*/ 3078 w 3403"/>
                  <a:gd name="T57" fmla="*/ 1530 h 3230"/>
                  <a:gd name="T58" fmla="*/ 2732 w 3403"/>
                  <a:gd name="T59" fmla="*/ 1409 h 3230"/>
                  <a:gd name="T60" fmla="*/ 2572 w 3403"/>
                  <a:gd name="T61" fmla="*/ 1228 h 3230"/>
                  <a:gd name="T62" fmla="*/ 3241 w 3403"/>
                  <a:gd name="T63" fmla="*/ 456 h 3230"/>
                  <a:gd name="T64" fmla="*/ 3399 w 3403"/>
                  <a:gd name="T65" fmla="*/ 191 h 3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03" h="3230">
                    <a:moveTo>
                      <a:pt x="3231" y="22"/>
                    </a:moveTo>
                    <a:cubicBezTo>
                      <a:pt x="3165" y="21"/>
                      <a:pt x="3087" y="36"/>
                      <a:pt x="3025" y="97"/>
                    </a:cubicBezTo>
                    <a:lnTo>
                      <a:pt x="2361" y="659"/>
                    </a:lnTo>
                    <a:cubicBezTo>
                      <a:pt x="2300" y="711"/>
                      <a:pt x="2190" y="729"/>
                      <a:pt x="2115" y="701"/>
                    </a:cubicBezTo>
                    <a:lnTo>
                      <a:pt x="1956" y="639"/>
                    </a:lnTo>
                    <a:cubicBezTo>
                      <a:pt x="1882" y="611"/>
                      <a:pt x="1858" y="534"/>
                      <a:pt x="1903" y="468"/>
                    </a:cubicBezTo>
                    <a:lnTo>
                      <a:pt x="2015" y="303"/>
                    </a:lnTo>
                    <a:cubicBezTo>
                      <a:pt x="2037" y="272"/>
                      <a:pt x="2028" y="249"/>
                      <a:pt x="2010" y="232"/>
                    </a:cubicBezTo>
                    <a:cubicBezTo>
                      <a:pt x="1979" y="201"/>
                      <a:pt x="1893" y="177"/>
                      <a:pt x="1841" y="199"/>
                    </a:cubicBezTo>
                    <a:cubicBezTo>
                      <a:pt x="1793" y="220"/>
                      <a:pt x="1758" y="258"/>
                      <a:pt x="1758" y="258"/>
                    </a:cubicBezTo>
                    <a:lnTo>
                      <a:pt x="1643" y="383"/>
                    </a:lnTo>
                    <a:cubicBezTo>
                      <a:pt x="1588" y="442"/>
                      <a:pt x="1481" y="478"/>
                      <a:pt x="1402" y="463"/>
                    </a:cubicBezTo>
                    <a:lnTo>
                      <a:pt x="1131" y="413"/>
                    </a:lnTo>
                    <a:cubicBezTo>
                      <a:pt x="1052" y="398"/>
                      <a:pt x="1023" y="339"/>
                      <a:pt x="1066" y="281"/>
                    </a:cubicBezTo>
                    <a:lnTo>
                      <a:pt x="1143" y="177"/>
                    </a:lnTo>
                    <a:cubicBezTo>
                      <a:pt x="1170" y="141"/>
                      <a:pt x="1177" y="112"/>
                      <a:pt x="1174" y="88"/>
                    </a:cubicBezTo>
                    <a:cubicBezTo>
                      <a:pt x="1167" y="35"/>
                      <a:pt x="1068" y="0"/>
                      <a:pt x="1008" y="15"/>
                    </a:cubicBezTo>
                    <a:cubicBezTo>
                      <a:pt x="947" y="30"/>
                      <a:pt x="860" y="106"/>
                      <a:pt x="808" y="166"/>
                    </a:cubicBezTo>
                    <a:lnTo>
                      <a:pt x="783" y="194"/>
                    </a:lnTo>
                    <a:cubicBezTo>
                      <a:pt x="731" y="254"/>
                      <a:pt x="623" y="300"/>
                      <a:pt x="543" y="298"/>
                    </a:cubicBezTo>
                    <a:lnTo>
                      <a:pt x="315" y="289"/>
                    </a:lnTo>
                    <a:cubicBezTo>
                      <a:pt x="235" y="286"/>
                      <a:pt x="136" y="255"/>
                      <a:pt x="88" y="259"/>
                    </a:cubicBezTo>
                    <a:cubicBezTo>
                      <a:pt x="63" y="261"/>
                      <a:pt x="39" y="274"/>
                      <a:pt x="22" y="310"/>
                    </a:cubicBezTo>
                    <a:cubicBezTo>
                      <a:pt x="22" y="310"/>
                      <a:pt x="6" y="352"/>
                      <a:pt x="17" y="392"/>
                    </a:cubicBezTo>
                    <a:cubicBezTo>
                      <a:pt x="30" y="436"/>
                      <a:pt x="128" y="482"/>
                      <a:pt x="198" y="521"/>
                    </a:cubicBezTo>
                    <a:cubicBezTo>
                      <a:pt x="508" y="689"/>
                      <a:pt x="1174" y="1042"/>
                      <a:pt x="1455" y="1190"/>
                    </a:cubicBezTo>
                    <a:cubicBezTo>
                      <a:pt x="1525" y="1227"/>
                      <a:pt x="1534" y="1301"/>
                      <a:pt x="1474" y="1354"/>
                    </a:cubicBezTo>
                    <a:lnTo>
                      <a:pt x="675" y="2064"/>
                    </a:lnTo>
                    <a:cubicBezTo>
                      <a:pt x="615" y="2117"/>
                      <a:pt x="503" y="2145"/>
                      <a:pt x="426" y="2126"/>
                    </a:cubicBezTo>
                    <a:lnTo>
                      <a:pt x="343" y="2106"/>
                    </a:lnTo>
                    <a:cubicBezTo>
                      <a:pt x="265" y="2087"/>
                      <a:pt x="171" y="2068"/>
                      <a:pt x="138" y="2084"/>
                    </a:cubicBezTo>
                    <a:cubicBezTo>
                      <a:pt x="106" y="2100"/>
                      <a:pt x="33" y="2160"/>
                      <a:pt x="16" y="2229"/>
                    </a:cubicBezTo>
                    <a:cubicBezTo>
                      <a:pt x="0" y="2297"/>
                      <a:pt x="113" y="2381"/>
                      <a:pt x="187" y="2411"/>
                    </a:cubicBezTo>
                    <a:cubicBezTo>
                      <a:pt x="276" y="2448"/>
                      <a:pt x="384" y="2486"/>
                      <a:pt x="450" y="2556"/>
                    </a:cubicBezTo>
                    <a:cubicBezTo>
                      <a:pt x="534" y="2647"/>
                      <a:pt x="587" y="2760"/>
                      <a:pt x="619" y="2847"/>
                    </a:cubicBezTo>
                    <a:cubicBezTo>
                      <a:pt x="647" y="2922"/>
                      <a:pt x="693" y="3036"/>
                      <a:pt x="751" y="3027"/>
                    </a:cubicBezTo>
                    <a:cubicBezTo>
                      <a:pt x="800" y="3019"/>
                      <a:pt x="841" y="2975"/>
                      <a:pt x="841" y="2975"/>
                    </a:cubicBezTo>
                    <a:cubicBezTo>
                      <a:pt x="841" y="2975"/>
                      <a:pt x="861" y="2953"/>
                      <a:pt x="887" y="2925"/>
                    </a:cubicBezTo>
                    <a:cubicBezTo>
                      <a:pt x="912" y="2897"/>
                      <a:pt x="917" y="2812"/>
                      <a:pt x="898" y="2734"/>
                    </a:cubicBezTo>
                    <a:lnTo>
                      <a:pt x="886" y="2682"/>
                    </a:lnTo>
                    <a:cubicBezTo>
                      <a:pt x="867" y="2604"/>
                      <a:pt x="902" y="2500"/>
                      <a:pt x="963" y="2449"/>
                    </a:cubicBezTo>
                    <a:lnTo>
                      <a:pt x="1876" y="1694"/>
                    </a:lnTo>
                    <a:cubicBezTo>
                      <a:pt x="1938" y="1643"/>
                      <a:pt x="2014" y="1661"/>
                      <a:pt x="2046" y="1735"/>
                    </a:cubicBezTo>
                    <a:lnTo>
                      <a:pt x="2620" y="3058"/>
                    </a:lnTo>
                    <a:cubicBezTo>
                      <a:pt x="2652" y="3131"/>
                      <a:pt x="2767" y="3230"/>
                      <a:pt x="2792" y="3154"/>
                    </a:cubicBezTo>
                    <a:cubicBezTo>
                      <a:pt x="2806" y="3111"/>
                      <a:pt x="2810" y="3037"/>
                      <a:pt x="2792" y="2914"/>
                    </a:cubicBezTo>
                    <a:cubicBezTo>
                      <a:pt x="2792" y="2914"/>
                      <a:pt x="2786" y="2856"/>
                      <a:pt x="2779" y="2784"/>
                    </a:cubicBezTo>
                    <a:cubicBezTo>
                      <a:pt x="2771" y="2713"/>
                      <a:pt x="2815" y="2614"/>
                      <a:pt x="2878" y="2564"/>
                    </a:cubicBezTo>
                    <a:lnTo>
                      <a:pt x="3064" y="2414"/>
                    </a:lnTo>
                    <a:cubicBezTo>
                      <a:pt x="3064" y="2414"/>
                      <a:pt x="3118" y="2373"/>
                      <a:pt x="3139" y="2303"/>
                    </a:cubicBezTo>
                    <a:cubicBezTo>
                      <a:pt x="3160" y="2230"/>
                      <a:pt x="3103" y="2133"/>
                      <a:pt x="3056" y="2140"/>
                    </a:cubicBezTo>
                    <a:cubicBezTo>
                      <a:pt x="3009" y="2147"/>
                      <a:pt x="2924" y="2194"/>
                      <a:pt x="2860" y="2224"/>
                    </a:cubicBezTo>
                    <a:cubicBezTo>
                      <a:pt x="2796" y="2253"/>
                      <a:pt x="2739" y="2213"/>
                      <a:pt x="2734" y="2133"/>
                    </a:cubicBezTo>
                    <a:lnTo>
                      <a:pt x="2724" y="1988"/>
                    </a:lnTo>
                    <a:cubicBezTo>
                      <a:pt x="2719" y="1908"/>
                      <a:pt x="2769" y="1808"/>
                      <a:pt x="2837" y="1765"/>
                    </a:cubicBezTo>
                    <a:lnTo>
                      <a:pt x="2885" y="1735"/>
                    </a:lnTo>
                    <a:cubicBezTo>
                      <a:pt x="2953" y="1692"/>
                      <a:pt x="3053" y="1607"/>
                      <a:pt x="3078" y="1531"/>
                    </a:cubicBezTo>
                    <a:cubicBezTo>
                      <a:pt x="3078" y="1531"/>
                      <a:pt x="3078" y="1531"/>
                      <a:pt x="3078" y="1530"/>
                    </a:cubicBezTo>
                    <a:cubicBezTo>
                      <a:pt x="3103" y="1454"/>
                      <a:pt x="3027" y="1359"/>
                      <a:pt x="2970" y="1355"/>
                    </a:cubicBezTo>
                    <a:cubicBezTo>
                      <a:pt x="2914" y="1351"/>
                      <a:pt x="2809" y="1389"/>
                      <a:pt x="2732" y="1409"/>
                    </a:cubicBezTo>
                    <a:cubicBezTo>
                      <a:pt x="2656" y="1429"/>
                      <a:pt x="2587" y="1381"/>
                      <a:pt x="2579" y="1301"/>
                    </a:cubicBezTo>
                    <a:lnTo>
                      <a:pt x="2572" y="1228"/>
                    </a:lnTo>
                    <a:cubicBezTo>
                      <a:pt x="2564" y="1148"/>
                      <a:pt x="2605" y="1040"/>
                      <a:pt x="2664" y="985"/>
                    </a:cubicBezTo>
                    <a:lnTo>
                      <a:pt x="3241" y="456"/>
                    </a:lnTo>
                    <a:cubicBezTo>
                      <a:pt x="3300" y="402"/>
                      <a:pt x="3385" y="301"/>
                      <a:pt x="3396" y="222"/>
                    </a:cubicBezTo>
                    <a:cubicBezTo>
                      <a:pt x="3398" y="212"/>
                      <a:pt x="3399" y="202"/>
                      <a:pt x="3399" y="191"/>
                    </a:cubicBezTo>
                    <a:cubicBezTo>
                      <a:pt x="3403" y="111"/>
                      <a:pt x="3311" y="24"/>
                      <a:pt x="3231" y="22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</p:grpSp>
        <p:grpSp>
          <p:nvGrpSpPr>
            <p:cNvPr id="28" name="ï$ļíḍè">
              <a:extLst>
                <a:ext uri="{FF2B5EF4-FFF2-40B4-BE49-F238E27FC236}">
                  <a16:creationId xmlns:a16="http://schemas.microsoft.com/office/drawing/2014/main" id="{A7BBA844-8FC2-42D1-8B1A-D28A682AF21A}"/>
                </a:ext>
              </a:extLst>
            </p:cNvPr>
            <p:cNvGrpSpPr/>
            <p:nvPr/>
          </p:nvGrpSpPr>
          <p:grpSpPr>
            <a:xfrm>
              <a:off x="7659688" y="4358157"/>
              <a:ext cx="1930626" cy="411766"/>
              <a:chOff x="7659688" y="1130300"/>
              <a:chExt cx="1930626" cy="411766"/>
            </a:xfrm>
          </p:grpSpPr>
          <p:sp>
            <p:nvSpPr>
              <p:cNvPr id="30" name="îṥḷïḍê">
                <a:extLst>
                  <a:ext uri="{FF2B5EF4-FFF2-40B4-BE49-F238E27FC236}">
                    <a16:creationId xmlns:a16="http://schemas.microsoft.com/office/drawing/2014/main" id="{ECEF5197-D2B1-4633-9745-E8E277B7EA5F}"/>
                  </a:ext>
                </a:extLst>
              </p:cNvPr>
              <p:cNvSpPr txBox="1"/>
              <p:nvPr/>
            </p:nvSpPr>
            <p:spPr bwMode="auto">
              <a:xfrm>
                <a:off x="7659688" y="1130300"/>
                <a:ext cx="1529576" cy="41176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r" defTabSz="914377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社会服务</a:t>
                </a:r>
                <a:endPara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cxnSp>
            <p:nvCxnSpPr>
              <p:cNvPr id="31" name="直接连接符 30">
                <a:extLst>
                  <a:ext uri="{FF2B5EF4-FFF2-40B4-BE49-F238E27FC236}">
                    <a16:creationId xmlns:a16="http://schemas.microsoft.com/office/drawing/2014/main" id="{0A3E7012-E98B-4E78-AB40-2A046725798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659688" y="1542065"/>
                <a:ext cx="1930626" cy="1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îŝḷîḑê">
                <a:extLst>
                  <a:ext uri="{FF2B5EF4-FFF2-40B4-BE49-F238E27FC236}">
                    <a16:creationId xmlns:a16="http://schemas.microsoft.com/office/drawing/2014/main" id="{CD11F8AE-1CFF-46A8-9618-B6C290E2C637}"/>
                  </a:ext>
                </a:extLst>
              </p:cNvPr>
              <p:cNvSpPr/>
              <p:nvPr/>
            </p:nvSpPr>
            <p:spPr bwMode="auto">
              <a:xfrm>
                <a:off x="7659688" y="1198499"/>
                <a:ext cx="304842" cy="288904"/>
              </a:xfrm>
              <a:custGeom>
                <a:avLst/>
                <a:gdLst>
                  <a:gd name="T0" fmla="*/ 3025 w 3403"/>
                  <a:gd name="T1" fmla="*/ 97 h 3230"/>
                  <a:gd name="T2" fmla="*/ 2115 w 3403"/>
                  <a:gd name="T3" fmla="*/ 701 h 3230"/>
                  <a:gd name="T4" fmla="*/ 1903 w 3403"/>
                  <a:gd name="T5" fmla="*/ 468 h 3230"/>
                  <a:gd name="T6" fmla="*/ 2010 w 3403"/>
                  <a:gd name="T7" fmla="*/ 232 h 3230"/>
                  <a:gd name="T8" fmla="*/ 1758 w 3403"/>
                  <a:gd name="T9" fmla="*/ 258 h 3230"/>
                  <a:gd name="T10" fmla="*/ 1402 w 3403"/>
                  <a:gd name="T11" fmla="*/ 463 h 3230"/>
                  <a:gd name="T12" fmla="*/ 1066 w 3403"/>
                  <a:gd name="T13" fmla="*/ 281 h 3230"/>
                  <a:gd name="T14" fmla="*/ 1174 w 3403"/>
                  <a:gd name="T15" fmla="*/ 88 h 3230"/>
                  <a:gd name="T16" fmla="*/ 808 w 3403"/>
                  <a:gd name="T17" fmla="*/ 166 h 3230"/>
                  <a:gd name="T18" fmla="*/ 543 w 3403"/>
                  <a:gd name="T19" fmla="*/ 298 h 3230"/>
                  <a:gd name="T20" fmla="*/ 88 w 3403"/>
                  <a:gd name="T21" fmla="*/ 259 h 3230"/>
                  <a:gd name="T22" fmla="*/ 17 w 3403"/>
                  <a:gd name="T23" fmla="*/ 392 h 3230"/>
                  <a:gd name="T24" fmla="*/ 1455 w 3403"/>
                  <a:gd name="T25" fmla="*/ 1190 h 3230"/>
                  <a:gd name="T26" fmla="*/ 675 w 3403"/>
                  <a:gd name="T27" fmla="*/ 2064 h 3230"/>
                  <a:gd name="T28" fmla="*/ 343 w 3403"/>
                  <a:gd name="T29" fmla="*/ 2106 h 3230"/>
                  <a:gd name="T30" fmla="*/ 16 w 3403"/>
                  <a:gd name="T31" fmla="*/ 2229 h 3230"/>
                  <a:gd name="T32" fmla="*/ 450 w 3403"/>
                  <a:gd name="T33" fmla="*/ 2556 h 3230"/>
                  <a:gd name="T34" fmla="*/ 751 w 3403"/>
                  <a:gd name="T35" fmla="*/ 3027 h 3230"/>
                  <a:gd name="T36" fmla="*/ 887 w 3403"/>
                  <a:gd name="T37" fmla="*/ 2925 h 3230"/>
                  <a:gd name="T38" fmla="*/ 886 w 3403"/>
                  <a:gd name="T39" fmla="*/ 2682 h 3230"/>
                  <a:gd name="T40" fmla="*/ 1876 w 3403"/>
                  <a:gd name="T41" fmla="*/ 1694 h 3230"/>
                  <a:gd name="T42" fmla="*/ 2620 w 3403"/>
                  <a:gd name="T43" fmla="*/ 3058 h 3230"/>
                  <a:gd name="T44" fmla="*/ 2792 w 3403"/>
                  <a:gd name="T45" fmla="*/ 2914 h 3230"/>
                  <a:gd name="T46" fmla="*/ 2878 w 3403"/>
                  <a:gd name="T47" fmla="*/ 2564 h 3230"/>
                  <a:gd name="T48" fmla="*/ 3139 w 3403"/>
                  <a:gd name="T49" fmla="*/ 2303 h 3230"/>
                  <a:gd name="T50" fmla="*/ 2860 w 3403"/>
                  <a:gd name="T51" fmla="*/ 2224 h 3230"/>
                  <a:gd name="T52" fmla="*/ 2724 w 3403"/>
                  <a:gd name="T53" fmla="*/ 1988 h 3230"/>
                  <a:gd name="T54" fmla="*/ 2885 w 3403"/>
                  <a:gd name="T55" fmla="*/ 1735 h 3230"/>
                  <a:gd name="T56" fmla="*/ 3078 w 3403"/>
                  <a:gd name="T57" fmla="*/ 1530 h 3230"/>
                  <a:gd name="T58" fmla="*/ 2732 w 3403"/>
                  <a:gd name="T59" fmla="*/ 1409 h 3230"/>
                  <a:gd name="T60" fmla="*/ 2572 w 3403"/>
                  <a:gd name="T61" fmla="*/ 1228 h 3230"/>
                  <a:gd name="T62" fmla="*/ 3241 w 3403"/>
                  <a:gd name="T63" fmla="*/ 456 h 3230"/>
                  <a:gd name="T64" fmla="*/ 3399 w 3403"/>
                  <a:gd name="T65" fmla="*/ 191 h 3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03" h="3230">
                    <a:moveTo>
                      <a:pt x="3231" y="22"/>
                    </a:moveTo>
                    <a:cubicBezTo>
                      <a:pt x="3165" y="21"/>
                      <a:pt x="3087" y="36"/>
                      <a:pt x="3025" y="97"/>
                    </a:cubicBezTo>
                    <a:lnTo>
                      <a:pt x="2361" y="659"/>
                    </a:lnTo>
                    <a:cubicBezTo>
                      <a:pt x="2300" y="711"/>
                      <a:pt x="2190" y="729"/>
                      <a:pt x="2115" y="701"/>
                    </a:cubicBezTo>
                    <a:lnTo>
                      <a:pt x="1956" y="639"/>
                    </a:lnTo>
                    <a:cubicBezTo>
                      <a:pt x="1882" y="611"/>
                      <a:pt x="1858" y="534"/>
                      <a:pt x="1903" y="468"/>
                    </a:cubicBezTo>
                    <a:lnTo>
                      <a:pt x="2015" y="303"/>
                    </a:lnTo>
                    <a:cubicBezTo>
                      <a:pt x="2037" y="272"/>
                      <a:pt x="2028" y="249"/>
                      <a:pt x="2010" y="232"/>
                    </a:cubicBezTo>
                    <a:cubicBezTo>
                      <a:pt x="1979" y="201"/>
                      <a:pt x="1893" y="177"/>
                      <a:pt x="1841" y="199"/>
                    </a:cubicBezTo>
                    <a:cubicBezTo>
                      <a:pt x="1793" y="220"/>
                      <a:pt x="1758" y="258"/>
                      <a:pt x="1758" y="258"/>
                    </a:cubicBezTo>
                    <a:lnTo>
                      <a:pt x="1643" y="383"/>
                    </a:lnTo>
                    <a:cubicBezTo>
                      <a:pt x="1588" y="442"/>
                      <a:pt x="1481" y="478"/>
                      <a:pt x="1402" y="463"/>
                    </a:cubicBezTo>
                    <a:lnTo>
                      <a:pt x="1131" y="413"/>
                    </a:lnTo>
                    <a:cubicBezTo>
                      <a:pt x="1052" y="398"/>
                      <a:pt x="1023" y="339"/>
                      <a:pt x="1066" y="281"/>
                    </a:cubicBezTo>
                    <a:lnTo>
                      <a:pt x="1143" y="177"/>
                    </a:lnTo>
                    <a:cubicBezTo>
                      <a:pt x="1170" y="141"/>
                      <a:pt x="1177" y="112"/>
                      <a:pt x="1174" y="88"/>
                    </a:cubicBezTo>
                    <a:cubicBezTo>
                      <a:pt x="1167" y="35"/>
                      <a:pt x="1068" y="0"/>
                      <a:pt x="1008" y="15"/>
                    </a:cubicBezTo>
                    <a:cubicBezTo>
                      <a:pt x="947" y="30"/>
                      <a:pt x="860" y="106"/>
                      <a:pt x="808" y="166"/>
                    </a:cubicBezTo>
                    <a:lnTo>
                      <a:pt x="783" y="194"/>
                    </a:lnTo>
                    <a:cubicBezTo>
                      <a:pt x="731" y="254"/>
                      <a:pt x="623" y="300"/>
                      <a:pt x="543" y="298"/>
                    </a:cubicBezTo>
                    <a:lnTo>
                      <a:pt x="315" y="289"/>
                    </a:lnTo>
                    <a:cubicBezTo>
                      <a:pt x="235" y="286"/>
                      <a:pt x="136" y="255"/>
                      <a:pt x="88" y="259"/>
                    </a:cubicBezTo>
                    <a:cubicBezTo>
                      <a:pt x="63" y="261"/>
                      <a:pt x="39" y="274"/>
                      <a:pt x="22" y="310"/>
                    </a:cubicBezTo>
                    <a:cubicBezTo>
                      <a:pt x="22" y="310"/>
                      <a:pt x="6" y="352"/>
                      <a:pt x="17" y="392"/>
                    </a:cubicBezTo>
                    <a:cubicBezTo>
                      <a:pt x="30" y="436"/>
                      <a:pt x="128" y="482"/>
                      <a:pt x="198" y="521"/>
                    </a:cubicBezTo>
                    <a:cubicBezTo>
                      <a:pt x="508" y="689"/>
                      <a:pt x="1174" y="1042"/>
                      <a:pt x="1455" y="1190"/>
                    </a:cubicBezTo>
                    <a:cubicBezTo>
                      <a:pt x="1525" y="1227"/>
                      <a:pt x="1534" y="1301"/>
                      <a:pt x="1474" y="1354"/>
                    </a:cubicBezTo>
                    <a:lnTo>
                      <a:pt x="675" y="2064"/>
                    </a:lnTo>
                    <a:cubicBezTo>
                      <a:pt x="615" y="2117"/>
                      <a:pt x="503" y="2145"/>
                      <a:pt x="426" y="2126"/>
                    </a:cubicBezTo>
                    <a:lnTo>
                      <a:pt x="343" y="2106"/>
                    </a:lnTo>
                    <a:cubicBezTo>
                      <a:pt x="265" y="2087"/>
                      <a:pt x="171" y="2068"/>
                      <a:pt x="138" y="2084"/>
                    </a:cubicBezTo>
                    <a:cubicBezTo>
                      <a:pt x="106" y="2100"/>
                      <a:pt x="33" y="2160"/>
                      <a:pt x="16" y="2229"/>
                    </a:cubicBezTo>
                    <a:cubicBezTo>
                      <a:pt x="0" y="2297"/>
                      <a:pt x="113" y="2381"/>
                      <a:pt x="187" y="2411"/>
                    </a:cubicBezTo>
                    <a:cubicBezTo>
                      <a:pt x="276" y="2448"/>
                      <a:pt x="384" y="2486"/>
                      <a:pt x="450" y="2556"/>
                    </a:cubicBezTo>
                    <a:cubicBezTo>
                      <a:pt x="534" y="2647"/>
                      <a:pt x="587" y="2760"/>
                      <a:pt x="619" y="2847"/>
                    </a:cubicBezTo>
                    <a:cubicBezTo>
                      <a:pt x="647" y="2922"/>
                      <a:pt x="693" y="3036"/>
                      <a:pt x="751" y="3027"/>
                    </a:cubicBezTo>
                    <a:cubicBezTo>
                      <a:pt x="800" y="3019"/>
                      <a:pt x="841" y="2975"/>
                      <a:pt x="841" y="2975"/>
                    </a:cubicBezTo>
                    <a:cubicBezTo>
                      <a:pt x="841" y="2975"/>
                      <a:pt x="861" y="2953"/>
                      <a:pt x="887" y="2925"/>
                    </a:cubicBezTo>
                    <a:cubicBezTo>
                      <a:pt x="912" y="2897"/>
                      <a:pt x="917" y="2812"/>
                      <a:pt x="898" y="2734"/>
                    </a:cubicBezTo>
                    <a:lnTo>
                      <a:pt x="886" y="2682"/>
                    </a:lnTo>
                    <a:cubicBezTo>
                      <a:pt x="867" y="2604"/>
                      <a:pt x="902" y="2500"/>
                      <a:pt x="963" y="2449"/>
                    </a:cubicBezTo>
                    <a:lnTo>
                      <a:pt x="1876" y="1694"/>
                    </a:lnTo>
                    <a:cubicBezTo>
                      <a:pt x="1938" y="1643"/>
                      <a:pt x="2014" y="1661"/>
                      <a:pt x="2046" y="1735"/>
                    </a:cubicBezTo>
                    <a:lnTo>
                      <a:pt x="2620" y="3058"/>
                    </a:lnTo>
                    <a:cubicBezTo>
                      <a:pt x="2652" y="3131"/>
                      <a:pt x="2767" y="3230"/>
                      <a:pt x="2792" y="3154"/>
                    </a:cubicBezTo>
                    <a:cubicBezTo>
                      <a:pt x="2806" y="3111"/>
                      <a:pt x="2810" y="3037"/>
                      <a:pt x="2792" y="2914"/>
                    </a:cubicBezTo>
                    <a:cubicBezTo>
                      <a:pt x="2792" y="2914"/>
                      <a:pt x="2786" y="2856"/>
                      <a:pt x="2779" y="2784"/>
                    </a:cubicBezTo>
                    <a:cubicBezTo>
                      <a:pt x="2771" y="2713"/>
                      <a:pt x="2815" y="2614"/>
                      <a:pt x="2878" y="2564"/>
                    </a:cubicBezTo>
                    <a:lnTo>
                      <a:pt x="3064" y="2414"/>
                    </a:lnTo>
                    <a:cubicBezTo>
                      <a:pt x="3064" y="2414"/>
                      <a:pt x="3118" y="2373"/>
                      <a:pt x="3139" y="2303"/>
                    </a:cubicBezTo>
                    <a:cubicBezTo>
                      <a:pt x="3160" y="2230"/>
                      <a:pt x="3103" y="2133"/>
                      <a:pt x="3056" y="2140"/>
                    </a:cubicBezTo>
                    <a:cubicBezTo>
                      <a:pt x="3009" y="2147"/>
                      <a:pt x="2924" y="2194"/>
                      <a:pt x="2860" y="2224"/>
                    </a:cubicBezTo>
                    <a:cubicBezTo>
                      <a:pt x="2796" y="2253"/>
                      <a:pt x="2739" y="2213"/>
                      <a:pt x="2734" y="2133"/>
                    </a:cubicBezTo>
                    <a:lnTo>
                      <a:pt x="2724" y="1988"/>
                    </a:lnTo>
                    <a:cubicBezTo>
                      <a:pt x="2719" y="1908"/>
                      <a:pt x="2769" y="1808"/>
                      <a:pt x="2837" y="1765"/>
                    </a:cubicBezTo>
                    <a:lnTo>
                      <a:pt x="2885" y="1735"/>
                    </a:lnTo>
                    <a:cubicBezTo>
                      <a:pt x="2953" y="1692"/>
                      <a:pt x="3053" y="1607"/>
                      <a:pt x="3078" y="1531"/>
                    </a:cubicBezTo>
                    <a:cubicBezTo>
                      <a:pt x="3078" y="1531"/>
                      <a:pt x="3078" y="1531"/>
                      <a:pt x="3078" y="1530"/>
                    </a:cubicBezTo>
                    <a:cubicBezTo>
                      <a:pt x="3103" y="1454"/>
                      <a:pt x="3027" y="1359"/>
                      <a:pt x="2970" y="1355"/>
                    </a:cubicBezTo>
                    <a:cubicBezTo>
                      <a:pt x="2914" y="1351"/>
                      <a:pt x="2809" y="1389"/>
                      <a:pt x="2732" y="1409"/>
                    </a:cubicBezTo>
                    <a:cubicBezTo>
                      <a:pt x="2656" y="1429"/>
                      <a:pt x="2587" y="1381"/>
                      <a:pt x="2579" y="1301"/>
                    </a:cubicBezTo>
                    <a:lnTo>
                      <a:pt x="2572" y="1228"/>
                    </a:lnTo>
                    <a:cubicBezTo>
                      <a:pt x="2564" y="1148"/>
                      <a:pt x="2605" y="1040"/>
                      <a:pt x="2664" y="985"/>
                    </a:cubicBezTo>
                    <a:lnTo>
                      <a:pt x="3241" y="456"/>
                    </a:lnTo>
                    <a:cubicBezTo>
                      <a:pt x="3300" y="402"/>
                      <a:pt x="3385" y="301"/>
                      <a:pt x="3396" y="222"/>
                    </a:cubicBezTo>
                    <a:cubicBezTo>
                      <a:pt x="3398" y="212"/>
                      <a:pt x="3399" y="202"/>
                      <a:pt x="3399" y="191"/>
                    </a:cubicBezTo>
                    <a:cubicBezTo>
                      <a:pt x="3403" y="111"/>
                      <a:pt x="3311" y="24"/>
                      <a:pt x="3231" y="22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158966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1143000" y="609600"/>
            <a:ext cx="9875520" cy="4806462"/>
          </a:xfrm>
        </p:spPr>
        <p:txBody>
          <a:bodyPr>
            <a:normAutofit/>
          </a:bodyPr>
          <a:lstStyle/>
          <a:p>
            <a:r>
              <a:rPr lang="zh-CN" altLang="en-US" sz="4400" dirty="0" smtClean="0"/>
              <a:t>目录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1.</a:t>
            </a:r>
            <a:r>
              <a:rPr lang="zh-CN" altLang="en-US" dirty="0" smtClean="0"/>
              <a:t>作者介绍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2.</a:t>
            </a:r>
            <a:r>
              <a:rPr lang="zh-CN" altLang="en-US" dirty="0" smtClean="0"/>
              <a:t>逻辑模型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3.iCenter</a:t>
            </a:r>
            <a:r>
              <a:rPr lang="zh-CN" altLang="en-US" dirty="0" smtClean="0"/>
              <a:t>发展相关工具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4.</a:t>
            </a:r>
            <a:r>
              <a:rPr lang="zh-CN" altLang="en-US" dirty="0" smtClean="0"/>
              <a:t>背景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5.iCenter</a:t>
            </a:r>
            <a:r>
              <a:rPr lang="zh-CN" altLang="en-US" dirty="0" smtClean="0"/>
              <a:t>现状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6.iCenter</a:t>
            </a:r>
            <a:r>
              <a:rPr lang="zh-CN" altLang="en-US" dirty="0" smtClean="0"/>
              <a:t>不足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7.</a:t>
            </a:r>
            <a:r>
              <a:rPr lang="zh-CN" altLang="en-US" dirty="0" smtClean="0"/>
              <a:t>解决方案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8.</a:t>
            </a:r>
            <a:r>
              <a:rPr lang="zh-CN" altLang="en-US" dirty="0" smtClean="0"/>
              <a:t>参考文献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9.</a:t>
            </a:r>
            <a:r>
              <a:rPr lang="zh-CN" altLang="en-US" dirty="0" smtClean="0"/>
              <a:t>结语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523818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D572FE0-8D4D-4CF4-8E44-1CCCB7B8DF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功能定位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D312C88-F8C8-4A6D-A1AB-19AA0A723F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grpSp>
        <p:nvGrpSpPr>
          <p:cNvPr id="43" name="22206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4D256CE-295C-4481-8286-B21F7A2F385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12456" y="1128713"/>
            <a:ext cx="11006444" cy="5019675"/>
            <a:chOff x="512456" y="1128713"/>
            <a:chExt cx="11006444" cy="5019675"/>
          </a:xfrm>
        </p:grpSpPr>
        <p:sp>
          <p:nvSpPr>
            <p:cNvPr id="44" name="íşliḋè">
              <a:extLst>
                <a:ext uri="{FF2B5EF4-FFF2-40B4-BE49-F238E27FC236}">
                  <a16:creationId xmlns:a16="http://schemas.microsoft.com/office/drawing/2014/main" id="{CD194142-72CD-4220-AF5A-C2EC142A1D3A}"/>
                </a:ext>
              </a:extLst>
            </p:cNvPr>
            <p:cNvSpPr/>
            <p:nvPr/>
          </p:nvSpPr>
          <p:spPr>
            <a:xfrm>
              <a:off x="669925" y="1703300"/>
              <a:ext cx="2635250" cy="5715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zh-CN" altLang="en-US" sz="2800" b="1" i="1" dirty="0"/>
                <a:t>工程教育</a:t>
              </a:r>
            </a:p>
          </p:txBody>
        </p:sp>
        <p:sp>
          <p:nvSpPr>
            <p:cNvPr id="46" name="işliḓe">
              <a:extLst>
                <a:ext uri="{FF2B5EF4-FFF2-40B4-BE49-F238E27FC236}">
                  <a16:creationId xmlns:a16="http://schemas.microsoft.com/office/drawing/2014/main" id="{B8B87D98-EB49-47EF-A450-8B905B1484A9}"/>
                </a:ext>
              </a:extLst>
            </p:cNvPr>
            <p:cNvSpPr/>
            <p:nvPr/>
          </p:nvSpPr>
          <p:spPr>
            <a:xfrm>
              <a:off x="3407833" y="1703300"/>
              <a:ext cx="2635250" cy="5715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zh-CN" altLang="en-US" sz="2800" b="1" i="1" dirty="0"/>
                <a:t>创新教育</a:t>
              </a:r>
            </a:p>
          </p:txBody>
        </p:sp>
        <p:sp>
          <p:nvSpPr>
            <p:cNvPr id="48" name="îṧļïḑe">
              <a:extLst>
                <a:ext uri="{FF2B5EF4-FFF2-40B4-BE49-F238E27FC236}">
                  <a16:creationId xmlns:a16="http://schemas.microsoft.com/office/drawing/2014/main" id="{44E057AA-E229-44A2-9357-92226AAE38CB}"/>
                </a:ext>
              </a:extLst>
            </p:cNvPr>
            <p:cNvSpPr/>
            <p:nvPr/>
          </p:nvSpPr>
          <p:spPr>
            <a:xfrm>
              <a:off x="6145741" y="1703300"/>
              <a:ext cx="2635250" cy="5715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zh-CN" altLang="en-US" sz="2800" b="1" i="1" dirty="0"/>
                <a:t>通识教育</a:t>
              </a:r>
            </a:p>
          </p:txBody>
        </p:sp>
        <p:sp>
          <p:nvSpPr>
            <p:cNvPr id="50" name="îŝḷíḑé">
              <a:extLst>
                <a:ext uri="{FF2B5EF4-FFF2-40B4-BE49-F238E27FC236}">
                  <a16:creationId xmlns:a16="http://schemas.microsoft.com/office/drawing/2014/main" id="{25E8B8F8-4A6D-4693-AD3B-C1296F9C1E33}"/>
                </a:ext>
              </a:extLst>
            </p:cNvPr>
            <p:cNvSpPr/>
            <p:nvPr/>
          </p:nvSpPr>
          <p:spPr>
            <a:xfrm>
              <a:off x="8883650" y="1703300"/>
              <a:ext cx="2635250" cy="5715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zh-CN" altLang="en-US" sz="2800" b="1" i="1" dirty="0"/>
                <a:t>社会服务</a:t>
              </a:r>
            </a:p>
          </p:txBody>
        </p:sp>
        <p:grpSp>
          <p:nvGrpSpPr>
            <p:cNvPr id="52" name="ïṥ1íďê">
              <a:extLst>
                <a:ext uri="{FF2B5EF4-FFF2-40B4-BE49-F238E27FC236}">
                  <a16:creationId xmlns:a16="http://schemas.microsoft.com/office/drawing/2014/main" id="{867A6733-8AA2-47BA-B278-0BFAEC0F284C}"/>
                </a:ext>
              </a:extLst>
            </p:cNvPr>
            <p:cNvGrpSpPr/>
            <p:nvPr/>
          </p:nvGrpSpPr>
          <p:grpSpPr>
            <a:xfrm>
              <a:off x="512456" y="2756521"/>
              <a:ext cx="2597203" cy="1730840"/>
              <a:chOff x="512453" y="2978483"/>
              <a:chExt cx="2597203" cy="1730840"/>
            </a:xfrm>
          </p:grpSpPr>
          <p:grpSp>
            <p:nvGrpSpPr>
              <p:cNvPr id="103" name="işļîḓe">
                <a:extLst>
                  <a:ext uri="{FF2B5EF4-FFF2-40B4-BE49-F238E27FC236}">
                    <a16:creationId xmlns:a16="http://schemas.microsoft.com/office/drawing/2014/main" id="{458F199F-7D06-42F2-914D-E8E39FB21359}"/>
                  </a:ext>
                </a:extLst>
              </p:cNvPr>
              <p:cNvGrpSpPr/>
              <p:nvPr/>
            </p:nvGrpSpPr>
            <p:grpSpPr>
              <a:xfrm>
                <a:off x="512453" y="2978483"/>
                <a:ext cx="2597203" cy="444965"/>
                <a:chOff x="403419" y="2807033"/>
                <a:chExt cx="2597203" cy="444965"/>
              </a:xfrm>
            </p:grpSpPr>
            <p:sp>
              <p:nvSpPr>
                <p:cNvPr id="113" name="íŝḻîḍé">
                  <a:extLst>
                    <a:ext uri="{FF2B5EF4-FFF2-40B4-BE49-F238E27FC236}">
                      <a16:creationId xmlns:a16="http://schemas.microsoft.com/office/drawing/2014/main" id="{8F12392A-028C-403C-A954-992F10E096D9}"/>
                    </a:ext>
                  </a:extLst>
                </p:cNvPr>
                <p:cNvSpPr/>
                <p:nvPr/>
              </p:nvSpPr>
              <p:spPr bwMode="auto">
                <a:xfrm>
                  <a:off x="594956" y="2807033"/>
                  <a:ext cx="2405666" cy="44496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zh-CN" altLang="en-US" sz="1100" dirty="0"/>
                    <a:t>先进的制造工程训练中心</a:t>
                  </a:r>
                  <a:endParaRPr lang="en-US" altLang="zh-CN" sz="1100" dirty="0"/>
                </a:p>
              </p:txBody>
            </p:sp>
            <p:sp>
              <p:nvSpPr>
                <p:cNvPr id="114" name="îślîḍè">
                  <a:extLst>
                    <a:ext uri="{FF2B5EF4-FFF2-40B4-BE49-F238E27FC236}">
                      <a16:creationId xmlns:a16="http://schemas.microsoft.com/office/drawing/2014/main" id="{DCD4AB8F-0C28-44AD-8B14-AEBF04623BED}"/>
                    </a:ext>
                  </a:extLst>
                </p:cNvPr>
                <p:cNvSpPr/>
                <p:nvPr/>
              </p:nvSpPr>
              <p:spPr>
                <a:xfrm>
                  <a:off x="403419" y="2894471"/>
                  <a:ext cx="232179" cy="220233"/>
                </a:xfrm>
                <a:prstGeom prst="chevron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55000" lnSpcReduction="20000"/>
                </a:bodyPr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04" name="iśľiḋe">
                <a:extLst>
                  <a:ext uri="{FF2B5EF4-FFF2-40B4-BE49-F238E27FC236}">
                    <a16:creationId xmlns:a16="http://schemas.microsoft.com/office/drawing/2014/main" id="{DEF108DD-40BB-49C5-8427-EB4E4F328786}"/>
                  </a:ext>
                </a:extLst>
              </p:cNvPr>
              <p:cNvGrpSpPr/>
              <p:nvPr/>
            </p:nvGrpSpPr>
            <p:grpSpPr>
              <a:xfrm>
                <a:off x="512453" y="3407108"/>
                <a:ext cx="2597203" cy="444965"/>
                <a:chOff x="403419" y="2807033"/>
                <a:chExt cx="2597203" cy="444965"/>
              </a:xfrm>
            </p:grpSpPr>
            <p:sp>
              <p:nvSpPr>
                <p:cNvPr id="111" name="ïŝ1iďe">
                  <a:extLst>
                    <a:ext uri="{FF2B5EF4-FFF2-40B4-BE49-F238E27FC236}">
                      <a16:creationId xmlns:a16="http://schemas.microsoft.com/office/drawing/2014/main" id="{8F12392A-028C-403C-A954-992F10E096D9}"/>
                    </a:ext>
                  </a:extLst>
                </p:cNvPr>
                <p:cNvSpPr/>
                <p:nvPr/>
              </p:nvSpPr>
              <p:spPr bwMode="auto">
                <a:xfrm>
                  <a:off x="594956" y="2807033"/>
                  <a:ext cx="2405666" cy="44496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zh-CN" altLang="en-US" sz="1100" dirty="0"/>
                    <a:t>建设工程训练教学体系</a:t>
                  </a:r>
                  <a:endParaRPr lang="en-US" altLang="zh-CN" sz="1100" dirty="0"/>
                </a:p>
              </p:txBody>
            </p:sp>
            <p:sp>
              <p:nvSpPr>
                <p:cNvPr id="112" name="íSliḑê">
                  <a:extLst>
                    <a:ext uri="{FF2B5EF4-FFF2-40B4-BE49-F238E27FC236}">
                      <a16:creationId xmlns:a16="http://schemas.microsoft.com/office/drawing/2014/main" id="{CB5E01C8-0AAF-4D16-A2B9-9EDD636CFF0E}"/>
                    </a:ext>
                  </a:extLst>
                </p:cNvPr>
                <p:cNvSpPr/>
                <p:nvPr/>
              </p:nvSpPr>
              <p:spPr>
                <a:xfrm>
                  <a:off x="403419" y="2894471"/>
                  <a:ext cx="232179" cy="220233"/>
                </a:xfrm>
                <a:prstGeom prst="chevron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55000" lnSpcReduction="20000"/>
                </a:bodyPr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05" name="îṡḷîḑe">
                <a:extLst>
                  <a:ext uri="{FF2B5EF4-FFF2-40B4-BE49-F238E27FC236}">
                    <a16:creationId xmlns:a16="http://schemas.microsoft.com/office/drawing/2014/main" id="{D0DCA3B5-6E41-45DC-808A-3600657524DA}"/>
                  </a:ext>
                </a:extLst>
              </p:cNvPr>
              <p:cNvGrpSpPr/>
              <p:nvPr/>
            </p:nvGrpSpPr>
            <p:grpSpPr>
              <a:xfrm>
                <a:off x="512453" y="3835733"/>
                <a:ext cx="2597203" cy="444965"/>
                <a:chOff x="403419" y="2807033"/>
                <a:chExt cx="2597203" cy="444965"/>
              </a:xfrm>
            </p:grpSpPr>
            <p:sp>
              <p:nvSpPr>
                <p:cNvPr id="109" name="í$ľiḍé">
                  <a:extLst>
                    <a:ext uri="{FF2B5EF4-FFF2-40B4-BE49-F238E27FC236}">
                      <a16:creationId xmlns:a16="http://schemas.microsoft.com/office/drawing/2014/main" id="{8F12392A-028C-403C-A954-992F10E096D9}"/>
                    </a:ext>
                  </a:extLst>
                </p:cNvPr>
                <p:cNvSpPr/>
                <p:nvPr/>
              </p:nvSpPr>
              <p:spPr bwMode="auto">
                <a:xfrm>
                  <a:off x="594956" y="2807033"/>
                  <a:ext cx="2405666" cy="44496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zh-CN" altLang="en-US" sz="1100" dirty="0"/>
                    <a:t>国家级工程训练教学示范中心</a:t>
                  </a:r>
                  <a:endParaRPr lang="en-US" altLang="zh-CN" sz="1100" dirty="0"/>
                </a:p>
              </p:txBody>
            </p:sp>
            <p:sp>
              <p:nvSpPr>
                <p:cNvPr id="110" name="i$ḷîḑê">
                  <a:extLst>
                    <a:ext uri="{FF2B5EF4-FFF2-40B4-BE49-F238E27FC236}">
                      <a16:creationId xmlns:a16="http://schemas.microsoft.com/office/drawing/2014/main" id="{2B889AA9-CF94-42C9-B363-9A93E95B7ABE}"/>
                    </a:ext>
                  </a:extLst>
                </p:cNvPr>
                <p:cNvSpPr/>
                <p:nvPr/>
              </p:nvSpPr>
              <p:spPr>
                <a:xfrm>
                  <a:off x="403419" y="2894471"/>
                  <a:ext cx="232179" cy="220233"/>
                </a:xfrm>
                <a:prstGeom prst="chevron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55000" lnSpcReduction="20000"/>
                </a:bodyPr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06" name="iSḷïḋê">
                <a:extLst>
                  <a:ext uri="{FF2B5EF4-FFF2-40B4-BE49-F238E27FC236}">
                    <a16:creationId xmlns:a16="http://schemas.microsoft.com/office/drawing/2014/main" id="{7802B697-099C-47EC-8CEF-4C55BE106258}"/>
                  </a:ext>
                </a:extLst>
              </p:cNvPr>
              <p:cNvGrpSpPr/>
              <p:nvPr/>
            </p:nvGrpSpPr>
            <p:grpSpPr>
              <a:xfrm>
                <a:off x="512453" y="4264358"/>
                <a:ext cx="2597203" cy="444965"/>
                <a:chOff x="403419" y="2807033"/>
                <a:chExt cx="2597203" cy="444965"/>
              </a:xfrm>
            </p:grpSpPr>
            <p:sp>
              <p:nvSpPr>
                <p:cNvPr id="107" name="íślîḍè">
                  <a:extLst>
                    <a:ext uri="{FF2B5EF4-FFF2-40B4-BE49-F238E27FC236}">
                      <a16:creationId xmlns:a16="http://schemas.microsoft.com/office/drawing/2014/main" id="{8F12392A-028C-403C-A954-992F10E096D9}"/>
                    </a:ext>
                  </a:extLst>
                </p:cNvPr>
                <p:cNvSpPr/>
                <p:nvPr/>
              </p:nvSpPr>
              <p:spPr bwMode="auto">
                <a:xfrm>
                  <a:off x="594956" y="2807033"/>
                  <a:ext cx="2405666" cy="44496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zh-CN" altLang="en-US" sz="1100" dirty="0"/>
                    <a:t>为卓越工程师培养服务</a:t>
                  </a:r>
                  <a:endParaRPr lang="en-US" altLang="zh-CN" sz="1100" dirty="0"/>
                </a:p>
              </p:txBody>
            </p:sp>
            <p:sp>
              <p:nvSpPr>
                <p:cNvPr id="108" name="ïSliḑê">
                  <a:extLst>
                    <a:ext uri="{FF2B5EF4-FFF2-40B4-BE49-F238E27FC236}">
                      <a16:creationId xmlns:a16="http://schemas.microsoft.com/office/drawing/2014/main" id="{1FCFB0FC-5D2A-49CD-A84F-56BCFB171BD7}"/>
                    </a:ext>
                  </a:extLst>
                </p:cNvPr>
                <p:cNvSpPr/>
                <p:nvPr/>
              </p:nvSpPr>
              <p:spPr>
                <a:xfrm>
                  <a:off x="403419" y="2894471"/>
                  <a:ext cx="232179" cy="220233"/>
                </a:xfrm>
                <a:prstGeom prst="chevron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55000" lnSpcReduction="20000"/>
                </a:bodyPr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53" name="íṧḷiḑè">
              <a:extLst>
                <a:ext uri="{FF2B5EF4-FFF2-40B4-BE49-F238E27FC236}">
                  <a16:creationId xmlns:a16="http://schemas.microsoft.com/office/drawing/2014/main" id="{122E2D86-1314-4C94-9379-C5F0CDC8FF21}"/>
                </a:ext>
              </a:extLst>
            </p:cNvPr>
            <p:cNvGrpSpPr/>
            <p:nvPr/>
          </p:nvGrpSpPr>
          <p:grpSpPr>
            <a:xfrm>
              <a:off x="3735863" y="2780950"/>
              <a:ext cx="2238146" cy="1710207"/>
              <a:chOff x="3735863" y="2744068"/>
              <a:chExt cx="2238146" cy="1710207"/>
            </a:xfrm>
          </p:grpSpPr>
          <p:grpSp>
            <p:nvGrpSpPr>
              <p:cNvPr id="91" name="iṧ1íde">
                <a:extLst>
                  <a:ext uri="{FF2B5EF4-FFF2-40B4-BE49-F238E27FC236}">
                    <a16:creationId xmlns:a16="http://schemas.microsoft.com/office/drawing/2014/main" id="{77B0AE62-4629-41BC-BEF9-0097A9A029D3}"/>
                  </a:ext>
                </a:extLst>
              </p:cNvPr>
              <p:cNvGrpSpPr/>
              <p:nvPr/>
            </p:nvGrpSpPr>
            <p:grpSpPr>
              <a:xfrm>
                <a:off x="3735863" y="2744068"/>
                <a:ext cx="2238146" cy="346249"/>
                <a:chOff x="3735863" y="2744068"/>
                <a:chExt cx="2238146" cy="346249"/>
              </a:xfrm>
            </p:grpSpPr>
            <p:sp>
              <p:nvSpPr>
                <p:cNvPr id="101" name="íṥlidê">
                  <a:extLst>
                    <a:ext uri="{FF2B5EF4-FFF2-40B4-BE49-F238E27FC236}">
                      <a16:creationId xmlns:a16="http://schemas.microsoft.com/office/drawing/2014/main" id="{8F12392A-028C-403C-A954-992F10E096D9}"/>
                    </a:ext>
                  </a:extLst>
                </p:cNvPr>
                <p:cNvSpPr/>
                <p:nvPr/>
              </p:nvSpPr>
              <p:spPr bwMode="auto">
                <a:xfrm>
                  <a:off x="3735863" y="2744068"/>
                  <a:ext cx="2238146" cy="3462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zh-CN" altLang="en-US" sz="1100" dirty="0"/>
                    <a:t>开放的创新创业支撑平台</a:t>
                  </a:r>
                  <a:endParaRPr lang="en-US" altLang="zh-CN" sz="1100" dirty="0"/>
                </a:p>
              </p:txBody>
            </p:sp>
            <p:sp>
              <p:nvSpPr>
                <p:cNvPr id="102" name="îṡlïḋe">
                  <a:extLst>
                    <a:ext uri="{FF2B5EF4-FFF2-40B4-BE49-F238E27FC236}">
                      <a16:creationId xmlns:a16="http://schemas.microsoft.com/office/drawing/2014/main" id="{4D2D5099-E353-4C79-A81D-4E8B1FD0F3A5}"/>
                    </a:ext>
                  </a:extLst>
                </p:cNvPr>
                <p:cNvSpPr/>
                <p:nvPr/>
              </p:nvSpPr>
              <p:spPr>
                <a:xfrm>
                  <a:off x="3785557" y="2823418"/>
                  <a:ext cx="143912" cy="171374"/>
                </a:xfrm>
                <a:prstGeom prst="chevron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32500" lnSpcReduction="20000"/>
                </a:bodyPr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92" name="iśļiḋê">
                <a:extLst>
                  <a:ext uri="{FF2B5EF4-FFF2-40B4-BE49-F238E27FC236}">
                    <a16:creationId xmlns:a16="http://schemas.microsoft.com/office/drawing/2014/main" id="{5453B0F5-FB7C-4589-A61E-651E3B6B5FE9}"/>
                  </a:ext>
                </a:extLst>
              </p:cNvPr>
              <p:cNvGrpSpPr/>
              <p:nvPr/>
            </p:nvGrpSpPr>
            <p:grpSpPr>
              <a:xfrm>
                <a:off x="3785557" y="3164604"/>
                <a:ext cx="1682651" cy="346249"/>
                <a:chOff x="3785557" y="3164604"/>
                <a:chExt cx="1682651" cy="346249"/>
              </a:xfrm>
            </p:grpSpPr>
            <p:sp>
              <p:nvSpPr>
                <p:cNvPr id="99" name="iṡḷîḍe">
                  <a:extLst>
                    <a:ext uri="{FF2B5EF4-FFF2-40B4-BE49-F238E27FC236}">
                      <a16:creationId xmlns:a16="http://schemas.microsoft.com/office/drawing/2014/main" id="{8F12392A-028C-403C-A954-992F10E096D9}"/>
                    </a:ext>
                  </a:extLst>
                </p:cNvPr>
                <p:cNvSpPr/>
                <p:nvPr/>
              </p:nvSpPr>
              <p:spPr bwMode="auto">
                <a:xfrm>
                  <a:off x="3977094" y="3164604"/>
                  <a:ext cx="1491114" cy="3462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zh-CN" altLang="en-US" sz="1100" dirty="0"/>
                    <a:t>建设创新创业体系</a:t>
                  </a:r>
                  <a:endParaRPr lang="en-US" altLang="zh-CN" sz="1100" dirty="0"/>
                </a:p>
              </p:txBody>
            </p:sp>
            <p:sp>
              <p:nvSpPr>
                <p:cNvPr id="100" name="î$líďé">
                  <a:extLst>
                    <a:ext uri="{FF2B5EF4-FFF2-40B4-BE49-F238E27FC236}">
                      <a16:creationId xmlns:a16="http://schemas.microsoft.com/office/drawing/2014/main" id="{53EFB5C5-2D7D-48A4-9DC0-A4D7745A08BB}"/>
                    </a:ext>
                  </a:extLst>
                </p:cNvPr>
                <p:cNvSpPr/>
                <p:nvPr/>
              </p:nvSpPr>
              <p:spPr>
                <a:xfrm>
                  <a:off x="3785557" y="3252043"/>
                  <a:ext cx="143912" cy="171374"/>
                </a:xfrm>
                <a:prstGeom prst="chevron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32500" lnSpcReduction="20000"/>
                </a:bodyPr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93" name="íśľîḓe">
                <a:extLst>
                  <a:ext uri="{FF2B5EF4-FFF2-40B4-BE49-F238E27FC236}">
                    <a16:creationId xmlns:a16="http://schemas.microsoft.com/office/drawing/2014/main" id="{ED315795-1899-4017-BF88-4E7D92615A3E}"/>
                  </a:ext>
                </a:extLst>
              </p:cNvPr>
              <p:cNvGrpSpPr/>
              <p:nvPr/>
            </p:nvGrpSpPr>
            <p:grpSpPr>
              <a:xfrm>
                <a:off x="3785557" y="3593229"/>
                <a:ext cx="2062009" cy="346249"/>
                <a:chOff x="3785557" y="3593229"/>
                <a:chExt cx="2062009" cy="346249"/>
              </a:xfrm>
            </p:grpSpPr>
            <p:sp>
              <p:nvSpPr>
                <p:cNvPr id="97" name="iṧḷïḋé">
                  <a:extLst>
                    <a:ext uri="{FF2B5EF4-FFF2-40B4-BE49-F238E27FC236}">
                      <a16:creationId xmlns:a16="http://schemas.microsoft.com/office/drawing/2014/main" id="{8F12392A-028C-403C-A954-992F10E096D9}"/>
                    </a:ext>
                  </a:extLst>
                </p:cNvPr>
                <p:cNvSpPr/>
                <p:nvPr/>
              </p:nvSpPr>
              <p:spPr bwMode="auto">
                <a:xfrm>
                  <a:off x="3977094" y="3593229"/>
                  <a:ext cx="1870472" cy="3462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zh-CN" altLang="en-US" sz="1100" dirty="0"/>
                    <a:t>高校示范性创新创业示范</a:t>
                  </a:r>
                  <a:endParaRPr lang="en-US" altLang="zh-CN" sz="1100" dirty="0"/>
                </a:p>
              </p:txBody>
            </p:sp>
            <p:sp>
              <p:nvSpPr>
                <p:cNvPr id="98" name="îsḷîḓê">
                  <a:extLst>
                    <a:ext uri="{FF2B5EF4-FFF2-40B4-BE49-F238E27FC236}">
                      <a16:creationId xmlns:a16="http://schemas.microsoft.com/office/drawing/2014/main" id="{55A20351-8356-44DF-868C-4A387C2FC025}"/>
                    </a:ext>
                  </a:extLst>
                </p:cNvPr>
                <p:cNvSpPr/>
                <p:nvPr/>
              </p:nvSpPr>
              <p:spPr>
                <a:xfrm>
                  <a:off x="3785557" y="3680668"/>
                  <a:ext cx="143912" cy="171374"/>
                </a:xfrm>
                <a:prstGeom prst="chevron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32500" lnSpcReduction="20000"/>
                </a:bodyPr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94" name="îṡḻïḍê">
                <a:extLst>
                  <a:ext uri="{FF2B5EF4-FFF2-40B4-BE49-F238E27FC236}">
                    <a16:creationId xmlns:a16="http://schemas.microsoft.com/office/drawing/2014/main" id="{26D3D580-9CEA-4520-80BA-C04FF216A08B}"/>
                  </a:ext>
                </a:extLst>
              </p:cNvPr>
              <p:cNvGrpSpPr/>
              <p:nvPr/>
            </p:nvGrpSpPr>
            <p:grpSpPr>
              <a:xfrm>
                <a:off x="3785557" y="4033739"/>
                <a:ext cx="2139467" cy="420536"/>
                <a:chOff x="3785557" y="4033739"/>
                <a:chExt cx="2139467" cy="420536"/>
              </a:xfrm>
            </p:grpSpPr>
            <p:sp>
              <p:nvSpPr>
                <p:cNvPr id="95" name="íş1ïďe">
                  <a:extLst>
                    <a:ext uri="{FF2B5EF4-FFF2-40B4-BE49-F238E27FC236}">
                      <a16:creationId xmlns:a16="http://schemas.microsoft.com/office/drawing/2014/main" id="{8F12392A-028C-403C-A954-992F10E096D9}"/>
                    </a:ext>
                  </a:extLst>
                </p:cNvPr>
                <p:cNvSpPr/>
                <p:nvPr/>
              </p:nvSpPr>
              <p:spPr bwMode="auto">
                <a:xfrm>
                  <a:off x="3928109" y="4033739"/>
                  <a:ext cx="1996915" cy="4205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zh-CN" altLang="en-US" sz="1100" dirty="0"/>
                    <a:t>为拔尖创新人才培养服务</a:t>
                  </a:r>
                  <a:endParaRPr lang="en-US" altLang="zh-CN" sz="1100" dirty="0"/>
                </a:p>
              </p:txBody>
            </p:sp>
            <p:sp>
              <p:nvSpPr>
                <p:cNvPr id="96" name="îśḻiḍê">
                  <a:extLst>
                    <a:ext uri="{FF2B5EF4-FFF2-40B4-BE49-F238E27FC236}">
                      <a16:creationId xmlns:a16="http://schemas.microsoft.com/office/drawing/2014/main" id="{93A4A5F3-2254-4AD7-8561-06142EE03D48}"/>
                    </a:ext>
                  </a:extLst>
                </p:cNvPr>
                <p:cNvSpPr/>
                <p:nvPr/>
              </p:nvSpPr>
              <p:spPr>
                <a:xfrm>
                  <a:off x="3785557" y="4109293"/>
                  <a:ext cx="143912" cy="171374"/>
                </a:xfrm>
                <a:prstGeom prst="chevron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32500" lnSpcReduction="20000"/>
                </a:bodyPr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54" name="i$ļïḋê">
              <a:extLst>
                <a:ext uri="{FF2B5EF4-FFF2-40B4-BE49-F238E27FC236}">
                  <a16:creationId xmlns:a16="http://schemas.microsoft.com/office/drawing/2014/main" id="{BC4212EC-250F-41EB-917C-ED62BF7C4E96}"/>
                </a:ext>
              </a:extLst>
            </p:cNvPr>
            <p:cNvGrpSpPr/>
            <p:nvPr/>
          </p:nvGrpSpPr>
          <p:grpSpPr>
            <a:xfrm>
              <a:off x="6586686" y="2756521"/>
              <a:ext cx="1682651" cy="1632124"/>
              <a:chOff x="6586686" y="2719639"/>
              <a:chExt cx="1682651" cy="1632124"/>
            </a:xfrm>
          </p:grpSpPr>
          <p:grpSp>
            <p:nvGrpSpPr>
              <p:cNvPr id="79" name="íšḷiḋè">
                <a:extLst>
                  <a:ext uri="{FF2B5EF4-FFF2-40B4-BE49-F238E27FC236}">
                    <a16:creationId xmlns:a16="http://schemas.microsoft.com/office/drawing/2014/main" id="{CE296E59-EACC-4189-AC4B-9D927140C314}"/>
                  </a:ext>
                </a:extLst>
              </p:cNvPr>
              <p:cNvGrpSpPr/>
              <p:nvPr/>
            </p:nvGrpSpPr>
            <p:grpSpPr>
              <a:xfrm>
                <a:off x="6586686" y="2719639"/>
                <a:ext cx="1682651" cy="346249"/>
                <a:chOff x="6586686" y="2719639"/>
                <a:chExt cx="1682651" cy="346249"/>
              </a:xfrm>
            </p:grpSpPr>
            <p:sp>
              <p:nvSpPr>
                <p:cNvPr id="89" name="îsļiḑè">
                  <a:extLst>
                    <a:ext uri="{FF2B5EF4-FFF2-40B4-BE49-F238E27FC236}">
                      <a16:creationId xmlns:a16="http://schemas.microsoft.com/office/drawing/2014/main" id="{8F12392A-028C-403C-A954-992F10E096D9}"/>
                    </a:ext>
                  </a:extLst>
                </p:cNvPr>
                <p:cNvSpPr/>
                <p:nvPr/>
              </p:nvSpPr>
              <p:spPr bwMode="auto">
                <a:xfrm>
                  <a:off x="6778223" y="2719639"/>
                  <a:ext cx="1491114" cy="3462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 anchorCtr="0">
                  <a:normAutofit fontScale="925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zh-CN" altLang="en-US" sz="1100" dirty="0"/>
                    <a:t>工程文化素质教育基地</a:t>
                  </a:r>
                  <a:endParaRPr lang="en-US" altLang="zh-CN" sz="1100" dirty="0"/>
                </a:p>
              </p:txBody>
            </p:sp>
            <p:sp>
              <p:nvSpPr>
                <p:cNvPr id="90" name="îsļîḋè">
                  <a:extLst>
                    <a:ext uri="{FF2B5EF4-FFF2-40B4-BE49-F238E27FC236}">
                      <a16:creationId xmlns:a16="http://schemas.microsoft.com/office/drawing/2014/main" id="{157BEC5C-AC20-45A3-9E5D-403ABE1E7D31}"/>
                    </a:ext>
                  </a:extLst>
                </p:cNvPr>
                <p:cNvSpPr/>
                <p:nvPr/>
              </p:nvSpPr>
              <p:spPr>
                <a:xfrm>
                  <a:off x="6586686" y="2807078"/>
                  <a:ext cx="143912" cy="171374"/>
                </a:xfrm>
                <a:prstGeom prst="chevron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32500" lnSpcReduction="20000"/>
                </a:bodyPr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80" name="ïślîḑè">
                <a:extLst>
                  <a:ext uri="{FF2B5EF4-FFF2-40B4-BE49-F238E27FC236}">
                    <a16:creationId xmlns:a16="http://schemas.microsoft.com/office/drawing/2014/main" id="{60F8D1EA-21C4-456F-9462-B60E5A455177}"/>
                  </a:ext>
                </a:extLst>
              </p:cNvPr>
              <p:cNvGrpSpPr/>
              <p:nvPr/>
            </p:nvGrpSpPr>
            <p:grpSpPr>
              <a:xfrm>
                <a:off x="6586686" y="3148264"/>
                <a:ext cx="1682651" cy="346249"/>
                <a:chOff x="6586686" y="3148264"/>
                <a:chExt cx="1682651" cy="346249"/>
              </a:xfrm>
            </p:grpSpPr>
            <p:sp>
              <p:nvSpPr>
                <p:cNvPr id="87" name="íş1îḋe">
                  <a:extLst>
                    <a:ext uri="{FF2B5EF4-FFF2-40B4-BE49-F238E27FC236}">
                      <a16:creationId xmlns:a16="http://schemas.microsoft.com/office/drawing/2014/main" id="{8F12392A-028C-403C-A954-992F10E096D9}"/>
                    </a:ext>
                  </a:extLst>
                </p:cNvPr>
                <p:cNvSpPr/>
                <p:nvPr/>
              </p:nvSpPr>
              <p:spPr bwMode="auto">
                <a:xfrm>
                  <a:off x="6778223" y="3148264"/>
                  <a:ext cx="1491114" cy="3462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 anchorCtr="0">
                  <a:normAutofit fontScale="925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zh-CN" altLang="en-US" sz="1100" dirty="0"/>
                    <a:t>建设工程素质教育体系</a:t>
                  </a:r>
                  <a:endParaRPr lang="en-US" altLang="zh-CN" sz="1100" dirty="0"/>
                </a:p>
              </p:txBody>
            </p:sp>
            <p:sp>
              <p:nvSpPr>
                <p:cNvPr id="88" name="íŝļïḋé">
                  <a:extLst>
                    <a:ext uri="{FF2B5EF4-FFF2-40B4-BE49-F238E27FC236}">
                      <a16:creationId xmlns:a16="http://schemas.microsoft.com/office/drawing/2014/main" id="{76B13DAF-FC05-484A-B71C-DFADF0C53E26}"/>
                    </a:ext>
                  </a:extLst>
                </p:cNvPr>
                <p:cNvSpPr/>
                <p:nvPr/>
              </p:nvSpPr>
              <p:spPr>
                <a:xfrm>
                  <a:off x="6586686" y="3235703"/>
                  <a:ext cx="143912" cy="171374"/>
                </a:xfrm>
                <a:prstGeom prst="chevron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32500" lnSpcReduction="20000"/>
                </a:bodyPr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81" name="îşḷïḓê">
                <a:extLst>
                  <a:ext uri="{FF2B5EF4-FFF2-40B4-BE49-F238E27FC236}">
                    <a16:creationId xmlns:a16="http://schemas.microsoft.com/office/drawing/2014/main" id="{39ABA3EB-B830-4758-B4EA-819DC1DC27CA}"/>
                  </a:ext>
                </a:extLst>
              </p:cNvPr>
              <p:cNvGrpSpPr/>
              <p:nvPr/>
            </p:nvGrpSpPr>
            <p:grpSpPr>
              <a:xfrm>
                <a:off x="6586686" y="3576889"/>
                <a:ext cx="1682651" cy="346249"/>
                <a:chOff x="6586686" y="3576889"/>
                <a:chExt cx="1682651" cy="346249"/>
              </a:xfrm>
            </p:grpSpPr>
            <p:sp>
              <p:nvSpPr>
                <p:cNvPr id="85" name="iṧľiḓé">
                  <a:extLst>
                    <a:ext uri="{FF2B5EF4-FFF2-40B4-BE49-F238E27FC236}">
                      <a16:creationId xmlns:a16="http://schemas.microsoft.com/office/drawing/2014/main" id="{8F12392A-028C-403C-A954-992F10E096D9}"/>
                    </a:ext>
                  </a:extLst>
                </p:cNvPr>
                <p:cNvSpPr/>
                <p:nvPr/>
              </p:nvSpPr>
              <p:spPr bwMode="auto">
                <a:xfrm>
                  <a:off x="6778223" y="3576889"/>
                  <a:ext cx="1491114" cy="3462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zh-CN" altLang="en-US" sz="1100" dirty="0"/>
                    <a:t>北京市科普基地</a:t>
                  </a:r>
                  <a:endParaRPr lang="en-US" altLang="zh-CN" sz="1100" dirty="0"/>
                </a:p>
              </p:txBody>
            </p:sp>
            <p:sp>
              <p:nvSpPr>
                <p:cNvPr id="86" name="îşlïde">
                  <a:extLst>
                    <a:ext uri="{FF2B5EF4-FFF2-40B4-BE49-F238E27FC236}">
                      <a16:creationId xmlns:a16="http://schemas.microsoft.com/office/drawing/2014/main" id="{AB32A621-5FD6-4766-BF2E-EEBAB36A698D}"/>
                    </a:ext>
                  </a:extLst>
                </p:cNvPr>
                <p:cNvSpPr/>
                <p:nvPr/>
              </p:nvSpPr>
              <p:spPr>
                <a:xfrm>
                  <a:off x="6586686" y="3664328"/>
                  <a:ext cx="143912" cy="171374"/>
                </a:xfrm>
                <a:prstGeom prst="chevron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32500" lnSpcReduction="20000"/>
                </a:bodyPr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82" name="íṧḻîḍe">
                <a:extLst>
                  <a:ext uri="{FF2B5EF4-FFF2-40B4-BE49-F238E27FC236}">
                    <a16:creationId xmlns:a16="http://schemas.microsoft.com/office/drawing/2014/main" id="{6F9F74A7-7A79-43EE-B5E8-370B51EBB823}"/>
                  </a:ext>
                </a:extLst>
              </p:cNvPr>
              <p:cNvGrpSpPr/>
              <p:nvPr/>
            </p:nvGrpSpPr>
            <p:grpSpPr>
              <a:xfrm>
                <a:off x="6586686" y="4005514"/>
                <a:ext cx="1682651" cy="346249"/>
                <a:chOff x="6586686" y="4005514"/>
                <a:chExt cx="1682651" cy="346249"/>
              </a:xfrm>
            </p:grpSpPr>
            <p:sp>
              <p:nvSpPr>
                <p:cNvPr id="83" name="ïṥļíďé">
                  <a:extLst>
                    <a:ext uri="{FF2B5EF4-FFF2-40B4-BE49-F238E27FC236}">
                      <a16:creationId xmlns:a16="http://schemas.microsoft.com/office/drawing/2014/main" id="{8F12392A-028C-403C-A954-992F10E096D9}"/>
                    </a:ext>
                  </a:extLst>
                </p:cNvPr>
                <p:cNvSpPr/>
                <p:nvPr/>
              </p:nvSpPr>
              <p:spPr bwMode="auto">
                <a:xfrm>
                  <a:off x="6778223" y="4005514"/>
                  <a:ext cx="1491114" cy="3462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zh-CN" altLang="en-US" sz="1100" dirty="0"/>
                    <a:t>为复合人才培养服务</a:t>
                  </a:r>
                  <a:endParaRPr lang="en-US" altLang="zh-CN" sz="1100" dirty="0"/>
                </a:p>
              </p:txBody>
            </p:sp>
            <p:sp>
              <p:nvSpPr>
                <p:cNvPr id="84" name="íŝḷïḑê">
                  <a:extLst>
                    <a:ext uri="{FF2B5EF4-FFF2-40B4-BE49-F238E27FC236}">
                      <a16:creationId xmlns:a16="http://schemas.microsoft.com/office/drawing/2014/main" id="{5873D843-1813-47B4-A3DF-43201CAF5C93}"/>
                    </a:ext>
                  </a:extLst>
                </p:cNvPr>
                <p:cNvSpPr/>
                <p:nvPr/>
              </p:nvSpPr>
              <p:spPr>
                <a:xfrm>
                  <a:off x="6586686" y="4092953"/>
                  <a:ext cx="143912" cy="171374"/>
                </a:xfrm>
                <a:prstGeom prst="chevron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32500" lnSpcReduction="20000"/>
                </a:bodyPr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55" name="ísľiḍê">
              <a:extLst>
                <a:ext uri="{FF2B5EF4-FFF2-40B4-BE49-F238E27FC236}">
                  <a16:creationId xmlns:a16="http://schemas.microsoft.com/office/drawing/2014/main" id="{3BC9D213-A16D-4ED7-AC8F-489DEFCDD5B2}"/>
                </a:ext>
              </a:extLst>
            </p:cNvPr>
            <p:cNvGrpSpPr/>
            <p:nvPr/>
          </p:nvGrpSpPr>
          <p:grpSpPr>
            <a:xfrm>
              <a:off x="9324593" y="2717943"/>
              <a:ext cx="1920349" cy="1632124"/>
              <a:chOff x="9324593" y="2681061"/>
              <a:chExt cx="1920349" cy="1632124"/>
            </a:xfrm>
          </p:grpSpPr>
          <p:grpSp>
            <p:nvGrpSpPr>
              <p:cNvPr id="67" name="î$1îḑè">
                <a:extLst>
                  <a:ext uri="{FF2B5EF4-FFF2-40B4-BE49-F238E27FC236}">
                    <a16:creationId xmlns:a16="http://schemas.microsoft.com/office/drawing/2014/main" id="{74F0517F-E852-415E-AF2F-7C4C79A7C81F}"/>
                  </a:ext>
                </a:extLst>
              </p:cNvPr>
              <p:cNvGrpSpPr/>
              <p:nvPr/>
            </p:nvGrpSpPr>
            <p:grpSpPr>
              <a:xfrm>
                <a:off x="9324593" y="2681061"/>
                <a:ext cx="1849591" cy="346249"/>
                <a:chOff x="9324593" y="2681061"/>
                <a:chExt cx="1849591" cy="346249"/>
              </a:xfrm>
            </p:grpSpPr>
            <p:sp>
              <p:nvSpPr>
                <p:cNvPr id="77" name="išḻïḓê">
                  <a:extLst>
                    <a:ext uri="{FF2B5EF4-FFF2-40B4-BE49-F238E27FC236}">
                      <a16:creationId xmlns:a16="http://schemas.microsoft.com/office/drawing/2014/main" id="{8F12392A-028C-403C-A954-992F10E096D9}"/>
                    </a:ext>
                  </a:extLst>
                </p:cNvPr>
                <p:cNvSpPr/>
                <p:nvPr/>
              </p:nvSpPr>
              <p:spPr bwMode="auto">
                <a:xfrm>
                  <a:off x="9516129" y="2681061"/>
                  <a:ext cx="1658055" cy="3462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 anchorCtr="0">
                  <a:normAutofit fontScale="925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zh-CN" altLang="en-US" sz="1100" dirty="0"/>
                    <a:t>高水平科研转化服务平台</a:t>
                  </a:r>
                  <a:endParaRPr lang="en-US" altLang="zh-CN" sz="1100" dirty="0"/>
                </a:p>
              </p:txBody>
            </p:sp>
            <p:sp>
              <p:nvSpPr>
                <p:cNvPr id="78" name="íṧḷiďê">
                  <a:extLst>
                    <a:ext uri="{FF2B5EF4-FFF2-40B4-BE49-F238E27FC236}">
                      <a16:creationId xmlns:a16="http://schemas.microsoft.com/office/drawing/2014/main" id="{BB3ACF6E-B39C-414F-8B78-4757B842BE7F}"/>
                    </a:ext>
                  </a:extLst>
                </p:cNvPr>
                <p:cNvSpPr/>
                <p:nvPr/>
              </p:nvSpPr>
              <p:spPr>
                <a:xfrm>
                  <a:off x="9324593" y="2768500"/>
                  <a:ext cx="143912" cy="171374"/>
                </a:xfrm>
                <a:prstGeom prst="chevron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32500" lnSpcReduction="20000"/>
                </a:bodyPr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68" name="i$1ïḓé">
                <a:extLst>
                  <a:ext uri="{FF2B5EF4-FFF2-40B4-BE49-F238E27FC236}">
                    <a16:creationId xmlns:a16="http://schemas.microsoft.com/office/drawing/2014/main" id="{D05B5F3E-342F-4D02-AAE6-F3C6897AF084}"/>
                  </a:ext>
                </a:extLst>
              </p:cNvPr>
              <p:cNvGrpSpPr/>
              <p:nvPr/>
            </p:nvGrpSpPr>
            <p:grpSpPr>
              <a:xfrm>
                <a:off x="9324593" y="3109686"/>
                <a:ext cx="1682651" cy="346249"/>
                <a:chOff x="9324593" y="3109686"/>
                <a:chExt cx="1682651" cy="346249"/>
              </a:xfrm>
            </p:grpSpPr>
            <p:sp>
              <p:nvSpPr>
                <p:cNvPr id="75" name="ïŝľide">
                  <a:extLst>
                    <a:ext uri="{FF2B5EF4-FFF2-40B4-BE49-F238E27FC236}">
                      <a16:creationId xmlns:a16="http://schemas.microsoft.com/office/drawing/2014/main" id="{8F12392A-028C-403C-A954-992F10E096D9}"/>
                    </a:ext>
                  </a:extLst>
                </p:cNvPr>
                <p:cNvSpPr/>
                <p:nvPr/>
              </p:nvSpPr>
              <p:spPr bwMode="auto">
                <a:xfrm>
                  <a:off x="9516130" y="3109686"/>
                  <a:ext cx="1491114" cy="3462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zh-CN" altLang="en-US" sz="1100" dirty="0"/>
                    <a:t>建设科研服务体系</a:t>
                  </a:r>
                  <a:endParaRPr lang="en-US" altLang="zh-CN" sz="1100" dirty="0"/>
                </a:p>
              </p:txBody>
            </p:sp>
            <p:sp>
              <p:nvSpPr>
                <p:cNvPr id="76" name="iṥḷiḓé">
                  <a:extLst>
                    <a:ext uri="{FF2B5EF4-FFF2-40B4-BE49-F238E27FC236}">
                      <a16:creationId xmlns:a16="http://schemas.microsoft.com/office/drawing/2014/main" id="{7C248C3F-D9E1-4613-8B9D-99F681148AC8}"/>
                    </a:ext>
                  </a:extLst>
                </p:cNvPr>
                <p:cNvSpPr/>
                <p:nvPr/>
              </p:nvSpPr>
              <p:spPr>
                <a:xfrm>
                  <a:off x="9324593" y="3197125"/>
                  <a:ext cx="143912" cy="171374"/>
                </a:xfrm>
                <a:prstGeom prst="chevron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32500" lnSpcReduction="20000"/>
                </a:bodyPr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69" name="ï$ḷîḋè">
                <a:extLst>
                  <a:ext uri="{FF2B5EF4-FFF2-40B4-BE49-F238E27FC236}">
                    <a16:creationId xmlns:a16="http://schemas.microsoft.com/office/drawing/2014/main" id="{7F4DE7FF-16EE-44D4-8900-05F9781F72F2}"/>
                  </a:ext>
                </a:extLst>
              </p:cNvPr>
              <p:cNvGrpSpPr/>
              <p:nvPr/>
            </p:nvGrpSpPr>
            <p:grpSpPr>
              <a:xfrm>
                <a:off x="9324593" y="3538311"/>
                <a:ext cx="1920347" cy="346249"/>
                <a:chOff x="9324593" y="3538311"/>
                <a:chExt cx="1920347" cy="346249"/>
              </a:xfrm>
            </p:grpSpPr>
            <p:sp>
              <p:nvSpPr>
                <p:cNvPr id="73" name="îSḻiḍé">
                  <a:extLst>
                    <a:ext uri="{FF2B5EF4-FFF2-40B4-BE49-F238E27FC236}">
                      <a16:creationId xmlns:a16="http://schemas.microsoft.com/office/drawing/2014/main" id="{8F12392A-028C-403C-A954-992F10E096D9}"/>
                    </a:ext>
                  </a:extLst>
                </p:cNvPr>
                <p:cNvSpPr/>
                <p:nvPr/>
              </p:nvSpPr>
              <p:spPr bwMode="auto">
                <a:xfrm>
                  <a:off x="9516129" y="3538311"/>
                  <a:ext cx="1728811" cy="3462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zh-CN" altLang="en-US" sz="1100" dirty="0"/>
                    <a:t>科技条件平台开放实验室</a:t>
                  </a:r>
                  <a:endParaRPr lang="en-US" altLang="zh-CN" sz="1100" dirty="0"/>
                </a:p>
              </p:txBody>
            </p:sp>
            <p:sp>
              <p:nvSpPr>
                <p:cNvPr id="74" name="ïślíďê">
                  <a:extLst>
                    <a:ext uri="{FF2B5EF4-FFF2-40B4-BE49-F238E27FC236}">
                      <a16:creationId xmlns:a16="http://schemas.microsoft.com/office/drawing/2014/main" id="{3CAD0C0B-FAFD-4C62-8B0E-79E88C226C0F}"/>
                    </a:ext>
                  </a:extLst>
                </p:cNvPr>
                <p:cNvSpPr/>
                <p:nvPr/>
              </p:nvSpPr>
              <p:spPr>
                <a:xfrm>
                  <a:off x="9324593" y="3625750"/>
                  <a:ext cx="143912" cy="171374"/>
                </a:xfrm>
                <a:prstGeom prst="chevron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32500" lnSpcReduction="20000"/>
                </a:bodyPr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0" name="i$ļîḍè">
                <a:extLst>
                  <a:ext uri="{FF2B5EF4-FFF2-40B4-BE49-F238E27FC236}">
                    <a16:creationId xmlns:a16="http://schemas.microsoft.com/office/drawing/2014/main" id="{A847AF84-2A24-462F-9E34-1BD7023077F5}"/>
                  </a:ext>
                </a:extLst>
              </p:cNvPr>
              <p:cNvGrpSpPr/>
              <p:nvPr/>
            </p:nvGrpSpPr>
            <p:grpSpPr>
              <a:xfrm>
                <a:off x="9324593" y="3966936"/>
                <a:ext cx="1920349" cy="346249"/>
                <a:chOff x="9324593" y="3966936"/>
                <a:chExt cx="1920349" cy="346249"/>
              </a:xfrm>
            </p:grpSpPr>
            <p:sp>
              <p:nvSpPr>
                <p:cNvPr id="71" name="îṧlíḍè">
                  <a:extLst>
                    <a:ext uri="{FF2B5EF4-FFF2-40B4-BE49-F238E27FC236}">
                      <a16:creationId xmlns:a16="http://schemas.microsoft.com/office/drawing/2014/main" id="{8F12392A-028C-403C-A954-992F10E096D9}"/>
                    </a:ext>
                  </a:extLst>
                </p:cNvPr>
                <p:cNvSpPr/>
                <p:nvPr/>
              </p:nvSpPr>
              <p:spPr bwMode="auto">
                <a:xfrm>
                  <a:off x="9516129" y="3966936"/>
                  <a:ext cx="1728813" cy="3462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zh-CN" altLang="en-US" sz="1100" dirty="0"/>
                    <a:t>发挥社会服务的辐射作用</a:t>
                  </a:r>
                  <a:endParaRPr lang="en-US" altLang="zh-CN" sz="1100" dirty="0"/>
                </a:p>
              </p:txBody>
            </p:sp>
            <p:sp>
              <p:nvSpPr>
                <p:cNvPr id="72" name="işļïḍe">
                  <a:extLst>
                    <a:ext uri="{FF2B5EF4-FFF2-40B4-BE49-F238E27FC236}">
                      <a16:creationId xmlns:a16="http://schemas.microsoft.com/office/drawing/2014/main" id="{57B7004B-8D85-4186-9833-B2B043C4EC16}"/>
                    </a:ext>
                  </a:extLst>
                </p:cNvPr>
                <p:cNvSpPr/>
                <p:nvPr/>
              </p:nvSpPr>
              <p:spPr>
                <a:xfrm>
                  <a:off x="9324593" y="4054375"/>
                  <a:ext cx="143912" cy="171374"/>
                </a:xfrm>
                <a:prstGeom prst="chevron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32500" lnSpcReduction="20000"/>
                </a:bodyPr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</p:grpSp>
        </p:grpSp>
        <p:cxnSp>
          <p:nvCxnSpPr>
            <p:cNvPr id="64" name="直接连接符 63">
              <a:extLst>
                <a:ext uri="{FF2B5EF4-FFF2-40B4-BE49-F238E27FC236}">
                  <a16:creationId xmlns:a16="http://schemas.microsoft.com/office/drawing/2014/main" id="{8003FE8C-FD3B-4926-B5CD-F936495DF9B0}"/>
                </a:ext>
              </a:extLst>
            </p:cNvPr>
            <p:cNvCxnSpPr/>
            <p:nvPr/>
          </p:nvCxnSpPr>
          <p:spPr>
            <a:xfrm>
              <a:off x="3356504" y="1128713"/>
              <a:ext cx="0" cy="501967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直接连接符 64">
              <a:extLst>
                <a:ext uri="{FF2B5EF4-FFF2-40B4-BE49-F238E27FC236}">
                  <a16:creationId xmlns:a16="http://schemas.microsoft.com/office/drawing/2014/main" id="{F4929371-AF92-489C-B6E3-12EBB4A7E90F}"/>
                </a:ext>
              </a:extLst>
            </p:cNvPr>
            <p:cNvCxnSpPr/>
            <p:nvPr/>
          </p:nvCxnSpPr>
          <p:spPr>
            <a:xfrm>
              <a:off x="6094412" y="1128713"/>
              <a:ext cx="0" cy="501967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直接连接符 65">
              <a:extLst>
                <a:ext uri="{FF2B5EF4-FFF2-40B4-BE49-F238E27FC236}">
                  <a16:creationId xmlns:a16="http://schemas.microsoft.com/office/drawing/2014/main" id="{0F341379-EB88-4A51-8DAE-981C164A8B16}"/>
                </a:ext>
              </a:extLst>
            </p:cNvPr>
            <p:cNvCxnSpPr/>
            <p:nvPr/>
          </p:nvCxnSpPr>
          <p:spPr>
            <a:xfrm>
              <a:off x="8832320" y="1128713"/>
              <a:ext cx="0" cy="501967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657326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22" name="图片 21">
            <a:extLst>
              <a:ext uri="{FF2B5EF4-FFF2-40B4-BE49-F238E27FC236}">
                <a16:creationId xmlns:a16="http://schemas.microsoft.com/office/drawing/2014/main" id="{4268AB88-496F-4C66-85AA-7A870279C79F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0481" y="164935"/>
            <a:ext cx="8528040" cy="6438383"/>
          </a:xfrm>
          <a:prstGeom prst="rect">
            <a:avLst/>
          </a:prstGeom>
          <a:noFill/>
          <a:ln>
            <a:noFill/>
          </a:ln>
        </p:spPr>
      </p:pic>
      <p:sp>
        <p:nvSpPr>
          <p:cNvPr id="24" name="文本框 23">
            <a:extLst>
              <a:ext uri="{FF2B5EF4-FFF2-40B4-BE49-F238E27FC236}">
                <a16:creationId xmlns:a16="http://schemas.microsoft.com/office/drawing/2014/main" id="{6022FCAF-83CE-4D8A-837B-41C0AB957C6D}"/>
              </a:ext>
            </a:extLst>
          </p:cNvPr>
          <p:cNvSpPr txBox="1"/>
          <p:nvPr/>
        </p:nvSpPr>
        <p:spPr>
          <a:xfrm>
            <a:off x="984133" y="1110781"/>
            <a:ext cx="1292662" cy="420992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创客空间的设计理念</a:t>
            </a:r>
          </a:p>
        </p:txBody>
      </p:sp>
    </p:spTree>
    <p:extLst>
      <p:ext uri="{BB962C8B-B14F-4D97-AF65-F5344CB8AC3E}">
        <p14:creationId xmlns:p14="http://schemas.microsoft.com/office/powerpoint/2010/main" val="816779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C0AA993-6DCA-4D4F-A7E5-93084B6F31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www.islide.cc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C7D94AC-AC6B-4BB0-9677-1F3877F8D3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grpSp>
        <p:nvGrpSpPr>
          <p:cNvPr id="5" name="2f24e75f-e597-478e-9e8c-1c342560a79a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CDD127C-1C2E-4CEE-88F8-2849453D4A0F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91600" y="1739900"/>
            <a:ext cx="10846026" cy="4022701"/>
            <a:chOff x="691600" y="1739900"/>
            <a:chExt cx="10846026" cy="4022701"/>
          </a:xfrm>
        </p:grpSpPr>
        <p:sp>
          <p:nvSpPr>
            <p:cNvPr id="6" name="íşľîḍé">
              <a:extLst>
                <a:ext uri="{FF2B5EF4-FFF2-40B4-BE49-F238E27FC236}">
                  <a16:creationId xmlns:a16="http://schemas.microsoft.com/office/drawing/2014/main" id="{79619173-4DBE-4655-8642-67B716FD465B}"/>
                </a:ext>
              </a:extLst>
            </p:cNvPr>
            <p:cNvSpPr/>
            <p:nvPr/>
          </p:nvSpPr>
          <p:spPr>
            <a:xfrm>
              <a:off x="7248234" y="2850294"/>
              <a:ext cx="1642685" cy="1642685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7" name="iṥ1iḓè">
              <a:extLst>
                <a:ext uri="{FF2B5EF4-FFF2-40B4-BE49-F238E27FC236}">
                  <a16:creationId xmlns:a16="http://schemas.microsoft.com/office/drawing/2014/main" id="{DD80256B-FAE9-4A3D-BEEF-FE236818F523}"/>
                </a:ext>
              </a:extLst>
            </p:cNvPr>
            <p:cNvSpPr/>
            <p:nvPr/>
          </p:nvSpPr>
          <p:spPr>
            <a:xfrm>
              <a:off x="3389228" y="2850294"/>
              <a:ext cx="1642685" cy="1642685"/>
            </a:xfrm>
            <a:prstGeom prst="ellipse">
              <a:avLst/>
            </a:prstGeom>
            <a:solidFill>
              <a:schemeClr val="accent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8" name="íṩliḍè">
              <a:extLst>
                <a:ext uri="{FF2B5EF4-FFF2-40B4-BE49-F238E27FC236}">
                  <a16:creationId xmlns:a16="http://schemas.microsoft.com/office/drawing/2014/main" id="{51827357-167C-4907-B415-E865DCC1965A}"/>
                </a:ext>
              </a:extLst>
            </p:cNvPr>
            <p:cNvSpPr/>
            <p:nvPr/>
          </p:nvSpPr>
          <p:spPr>
            <a:xfrm>
              <a:off x="4675563" y="2850294"/>
              <a:ext cx="1642685" cy="1642685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9" name="iṡ1íďè">
              <a:extLst>
                <a:ext uri="{FF2B5EF4-FFF2-40B4-BE49-F238E27FC236}">
                  <a16:creationId xmlns:a16="http://schemas.microsoft.com/office/drawing/2014/main" id="{E48075C6-DFB0-481C-A50A-C40C06AD0496}"/>
                </a:ext>
              </a:extLst>
            </p:cNvPr>
            <p:cNvSpPr/>
            <p:nvPr/>
          </p:nvSpPr>
          <p:spPr>
            <a:xfrm>
              <a:off x="5961898" y="2850294"/>
              <a:ext cx="1642685" cy="1642685"/>
            </a:xfrm>
            <a:prstGeom prst="ellipse">
              <a:avLst/>
            </a:prstGeom>
            <a:solidFill>
              <a:schemeClr val="accent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cxnSp>
          <p:nvCxnSpPr>
            <p:cNvPr id="10" name="肘形连接符 6">
              <a:extLst>
                <a:ext uri="{FF2B5EF4-FFF2-40B4-BE49-F238E27FC236}">
                  <a16:creationId xmlns:a16="http://schemas.microsoft.com/office/drawing/2014/main" id="{85F00393-896C-44A1-95A3-A5D31BC01150}"/>
                </a:ext>
              </a:extLst>
            </p:cNvPr>
            <p:cNvCxnSpPr/>
            <p:nvPr/>
          </p:nvCxnSpPr>
          <p:spPr>
            <a:xfrm flipV="1">
              <a:off x="8035168" y="2196167"/>
              <a:ext cx="924055" cy="636471"/>
            </a:xfrm>
            <a:prstGeom prst="bentConnector3">
              <a:avLst>
                <a:gd name="adj1" fmla="val -1089"/>
              </a:avLst>
            </a:prstGeom>
            <a:ln w="3175">
              <a:solidFill>
                <a:schemeClr val="bg1">
                  <a:lumMod val="65000"/>
                </a:schemeClr>
              </a:solidFill>
              <a:prstDash val="solid"/>
              <a:headEnd type="oval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肘形连接符 7">
              <a:extLst>
                <a:ext uri="{FF2B5EF4-FFF2-40B4-BE49-F238E27FC236}">
                  <a16:creationId xmlns:a16="http://schemas.microsoft.com/office/drawing/2014/main" id="{04B0ABA5-C7E1-4663-A834-921A6D3C6BBC}"/>
                </a:ext>
              </a:extLst>
            </p:cNvPr>
            <p:cNvCxnSpPr/>
            <p:nvPr/>
          </p:nvCxnSpPr>
          <p:spPr>
            <a:xfrm flipH="1" flipV="1">
              <a:off x="3271893" y="2215367"/>
              <a:ext cx="924055" cy="636471"/>
            </a:xfrm>
            <a:prstGeom prst="bentConnector3">
              <a:avLst>
                <a:gd name="adj1" fmla="val -505"/>
              </a:avLst>
            </a:prstGeom>
            <a:ln w="3175">
              <a:solidFill>
                <a:schemeClr val="bg1">
                  <a:lumMod val="65000"/>
                </a:schemeClr>
              </a:solidFill>
              <a:prstDash val="solid"/>
              <a:headEnd type="oval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肘形连接符 8">
              <a:extLst>
                <a:ext uri="{FF2B5EF4-FFF2-40B4-BE49-F238E27FC236}">
                  <a16:creationId xmlns:a16="http://schemas.microsoft.com/office/drawing/2014/main" id="{80BAF13A-37BF-41DD-8572-832EB7ADA5C3}"/>
                </a:ext>
              </a:extLst>
            </p:cNvPr>
            <p:cNvCxnSpPr/>
            <p:nvPr/>
          </p:nvCxnSpPr>
          <p:spPr>
            <a:xfrm>
              <a:off x="6734208" y="4494949"/>
              <a:ext cx="924055" cy="636471"/>
            </a:xfrm>
            <a:prstGeom prst="bentConnector3">
              <a:avLst>
                <a:gd name="adj1" fmla="val 78"/>
              </a:avLst>
            </a:prstGeom>
            <a:ln w="3175">
              <a:solidFill>
                <a:schemeClr val="bg1">
                  <a:lumMod val="65000"/>
                </a:schemeClr>
              </a:solidFill>
              <a:prstDash val="solid"/>
              <a:headEnd type="oval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肘形连接符 9">
              <a:extLst>
                <a:ext uri="{FF2B5EF4-FFF2-40B4-BE49-F238E27FC236}">
                  <a16:creationId xmlns:a16="http://schemas.microsoft.com/office/drawing/2014/main" id="{963C8353-AC76-4751-A98B-EDD97E58FF9B}"/>
                </a:ext>
              </a:extLst>
            </p:cNvPr>
            <p:cNvCxnSpPr/>
            <p:nvPr/>
          </p:nvCxnSpPr>
          <p:spPr>
            <a:xfrm flipH="1">
              <a:off x="4569885" y="4494949"/>
              <a:ext cx="924055" cy="636471"/>
            </a:xfrm>
            <a:prstGeom prst="bentConnector3">
              <a:avLst>
                <a:gd name="adj1" fmla="val 467"/>
              </a:avLst>
            </a:prstGeom>
            <a:ln w="3175">
              <a:solidFill>
                <a:schemeClr val="bg1">
                  <a:lumMod val="65000"/>
                </a:schemeClr>
              </a:solidFill>
              <a:prstDash val="solid"/>
              <a:headEnd type="oval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îSľïḍe">
              <a:extLst>
                <a:ext uri="{FF2B5EF4-FFF2-40B4-BE49-F238E27FC236}">
                  <a16:creationId xmlns:a16="http://schemas.microsoft.com/office/drawing/2014/main" id="{B149151C-F876-4159-A5FE-0AAB54BF975E}"/>
                </a:ext>
              </a:extLst>
            </p:cNvPr>
            <p:cNvSpPr/>
            <p:nvPr/>
          </p:nvSpPr>
          <p:spPr bwMode="auto">
            <a:xfrm>
              <a:off x="6414506" y="3284441"/>
              <a:ext cx="716510" cy="716510"/>
            </a:xfrm>
            <a:custGeom>
              <a:avLst/>
              <a:gdLst>
                <a:gd name="T0" fmla="*/ 184 w 260"/>
                <a:gd name="T1" fmla="*/ 106 h 260"/>
                <a:gd name="T2" fmla="*/ 193 w 260"/>
                <a:gd name="T3" fmla="*/ 143 h 260"/>
                <a:gd name="T4" fmla="*/ 117 w 260"/>
                <a:gd name="T5" fmla="*/ 219 h 260"/>
                <a:gd name="T6" fmla="*/ 42 w 260"/>
                <a:gd name="T7" fmla="*/ 143 h 260"/>
                <a:gd name="T8" fmla="*/ 117 w 260"/>
                <a:gd name="T9" fmla="*/ 66 h 260"/>
                <a:gd name="T10" fmla="*/ 154 w 260"/>
                <a:gd name="T11" fmla="*/ 76 h 260"/>
                <a:gd name="T12" fmla="*/ 183 w 260"/>
                <a:gd name="T13" fmla="*/ 46 h 260"/>
                <a:gd name="T14" fmla="*/ 117 w 260"/>
                <a:gd name="T15" fmla="*/ 25 h 260"/>
                <a:gd name="T16" fmla="*/ 0 w 260"/>
                <a:gd name="T17" fmla="*/ 143 h 260"/>
                <a:gd name="T18" fmla="*/ 117 w 260"/>
                <a:gd name="T19" fmla="*/ 260 h 260"/>
                <a:gd name="T20" fmla="*/ 233 w 260"/>
                <a:gd name="T21" fmla="*/ 143 h 260"/>
                <a:gd name="T22" fmla="*/ 213 w 260"/>
                <a:gd name="T23" fmla="*/ 77 h 260"/>
                <a:gd name="T24" fmla="*/ 184 w 260"/>
                <a:gd name="T25" fmla="*/ 106 h 260"/>
                <a:gd name="T26" fmla="*/ 225 w 260"/>
                <a:gd name="T27" fmla="*/ 35 h 260"/>
                <a:gd name="T28" fmla="*/ 225 w 260"/>
                <a:gd name="T29" fmla="*/ 35 h 260"/>
                <a:gd name="T30" fmla="*/ 225 w 260"/>
                <a:gd name="T31" fmla="*/ 0 h 260"/>
                <a:gd name="T32" fmla="*/ 203 w 260"/>
                <a:gd name="T33" fmla="*/ 23 h 260"/>
                <a:gd name="T34" fmla="*/ 203 w 260"/>
                <a:gd name="T35" fmla="*/ 46 h 260"/>
                <a:gd name="T36" fmla="*/ 139 w 260"/>
                <a:gd name="T37" fmla="*/ 111 h 260"/>
                <a:gd name="T38" fmla="*/ 117 w 260"/>
                <a:gd name="T39" fmla="*/ 104 h 260"/>
                <a:gd name="T40" fmla="*/ 79 w 260"/>
                <a:gd name="T41" fmla="*/ 143 h 260"/>
                <a:gd name="T42" fmla="*/ 117 w 260"/>
                <a:gd name="T43" fmla="*/ 181 h 260"/>
                <a:gd name="T44" fmla="*/ 155 w 260"/>
                <a:gd name="T45" fmla="*/ 143 h 260"/>
                <a:gd name="T46" fmla="*/ 150 w 260"/>
                <a:gd name="T47" fmla="*/ 123 h 260"/>
                <a:gd name="T48" fmla="*/ 215 w 260"/>
                <a:gd name="T49" fmla="*/ 58 h 260"/>
                <a:gd name="T50" fmla="*/ 237 w 260"/>
                <a:gd name="T51" fmla="*/ 58 h 260"/>
                <a:gd name="T52" fmla="*/ 260 w 260"/>
                <a:gd name="T53" fmla="*/ 35 h 260"/>
                <a:gd name="T54" fmla="*/ 225 w 260"/>
                <a:gd name="T55" fmla="*/ 35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0" h="260">
                  <a:moveTo>
                    <a:pt x="184" y="106"/>
                  </a:moveTo>
                  <a:cubicBezTo>
                    <a:pt x="190" y="117"/>
                    <a:pt x="193" y="129"/>
                    <a:pt x="193" y="143"/>
                  </a:cubicBezTo>
                  <a:cubicBezTo>
                    <a:pt x="193" y="185"/>
                    <a:pt x="159" y="219"/>
                    <a:pt x="117" y="219"/>
                  </a:cubicBezTo>
                  <a:cubicBezTo>
                    <a:pt x="76" y="219"/>
                    <a:pt x="42" y="185"/>
                    <a:pt x="42" y="143"/>
                  </a:cubicBezTo>
                  <a:cubicBezTo>
                    <a:pt x="42" y="100"/>
                    <a:pt x="76" y="66"/>
                    <a:pt x="117" y="66"/>
                  </a:cubicBezTo>
                  <a:cubicBezTo>
                    <a:pt x="131" y="66"/>
                    <a:pt x="143" y="70"/>
                    <a:pt x="154" y="76"/>
                  </a:cubicBezTo>
                  <a:cubicBezTo>
                    <a:pt x="183" y="46"/>
                    <a:pt x="183" y="46"/>
                    <a:pt x="183" y="46"/>
                  </a:cubicBezTo>
                  <a:cubicBezTo>
                    <a:pt x="165" y="33"/>
                    <a:pt x="141" y="25"/>
                    <a:pt x="117" y="25"/>
                  </a:cubicBezTo>
                  <a:cubicBezTo>
                    <a:pt x="52" y="25"/>
                    <a:pt x="0" y="78"/>
                    <a:pt x="0" y="143"/>
                  </a:cubicBezTo>
                  <a:cubicBezTo>
                    <a:pt x="0" y="207"/>
                    <a:pt x="52" y="260"/>
                    <a:pt x="117" y="260"/>
                  </a:cubicBezTo>
                  <a:cubicBezTo>
                    <a:pt x="181" y="260"/>
                    <a:pt x="233" y="207"/>
                    <a:pt x="233" y="143"/>
                  </a:cubicBezTo>
                  <a:cubicBezTo>
                    <a:pt x="233" y="118"/>
                    <a:pt x="226" y="96"/>
                    <a:pt x="213" y="77"/>
                  </a:cubicBezTo>
                  <a:cubicBezTo>
                    <a:pt x="184" y="106"/>
                    <a:pt x="184" y="106"/>
                    <a:pt x="184" y="106"/>
                  </a:cubicBezTo>
                  <a:close/>
                  <a:moveTo>
                    <a:pt x="225" y="35"/>
                  </a:moveTo>
                  <a:cubicBezTo>
                    <a:pt x="225" y="35"/>
                    <a:pt x="225" y="35"/>
                    <a:pt x="225" y="35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3" y="23"/>
                    <a:pt x="203" y="23"/>
                    <a:pt x="203" y="23"/>
                  </a:cubicBezTo>
                  <a:cubicBezTo>
                    <a:pt x="203" y="46"/>
                    <a:pt x="203" y="46"/>
                    <a:pt x="203" y="46"/>
                  </a:cubicBezTo>
                  <a:cubicBezTo>
                    <a:pt x="139" y="111"/>
                    <a:pt x="139" y="111"/>
                    <a:pt x="139" y="111"/>
                  </a:cubicBezTo>
                  <a:cubicBezTo>
                    <a:pt x="133" y="106"/>
                    <a:pt x="125" y="104"/>
                    <a:pt x="117" y="104"/>
                  </a:cubicBezTo>
                  <a:cubicBezTo>
                    <a:pt x="96" y="104"/>
                    <a:pt x="79" y="121"/>
                    <a:pt x="79" y="143"/>
                  </a:cubicBezTo>
                  <a:cubicBezTo>
                    <a:pt x="79" y="164"/>
                    <a:pt x="96" y="181"/>
                    <a:pt x="117" y="181"/>
                  </a:cubicBezTo>
                  <a:cubicBezTo>
                    <a:pt x="138" y="181"/>
                    <a:pt x="155" y="164"/>
                    <a:pt x="155" y="143"/>
                  </a:cubicBezTo>
                  <a:cubicBezTo>
                    <a:pt x="155" y="136"/>
                    <a:pt x="154" y="129"/>
                    <a:pt x="150" y="123"/>
                  </a:cubicBezTo>
                  <a:cubicBezTo>
                    <a:pt x="215" y="58"/>
                    <a:pt x="215" y="58"/>
                    <a:pt x="215" y="58"/>
                  </a:cubicBezTo>
                  <a:cubicBezTo>
                    <a:pt x="237" y="58"/>
                    <a:pt x="237" y="58"/>
                    <a:pt x="237" y="58"/>
                  </a:cubicBezTo>
                  <a:cubicBezTo>
                    <a:pt x="260" y="35"/>
                    <a:pt x="260" y="35"/>
                    <a:pt x="260" y="35"/>
                  </a:cubicBezTo>
                  <a:cubicBezTo>
                    <a:pt x="225" y="35"/>
                    <a:pt x="225" y="35"/>
                    <a:pt x="2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5" name="iṧ1îḋê">
              <a:extLst>
                <a:ext uri="{FF2B5EF4-FFF2-40B4-BE49-F238E27FC236}">
                  <a16:creationId xmlns:a16="http://schemas.microsoft.com/office/drawing/2014/main" id="{0AEB96B9-7F50-4E78-8F95-5E04830C8D7E}"/>
                </a:ext>
              </a:extLst>
            </p:cNvPr>
            <p:cNvSpPr/>
            <p:nvPr/>
          </p:nvSpPr>
          <p:spPr bwMode="auto">
            <a:xfrm>
              <a:off x="7693327" y="3284441"/>
              <a:ext cx="716510" cy="716510"/>
            </a:xfrm>
            <a:custGeom>
              <a:avLst/>
              <a:gdLst>
                <a:gd name="T0" fmla="*/ 0 w 236"/>
                <a:gd name="T1" fmla="*/ 118 h 236"/>
                <a:gd name="T2" fmla="*/ 236 w 236"/>
                <a:gd name="T3" fmla="*/ 118 h 236"/>
                <a:gd name="T4" fmla="*/ 150 w 236"/>
                <a:gd name="T5" fmla="*/ 168 h 236"/>
                <a:gd name="T6" fmla="*/ 128 w 236"/>
                <a:gd name="T7" fmla="*/ 196 h 236"/>
                <a:gd name="T8" fmla="*/ 125 w 236"/>
                <a:gd name="T9" fmla="*/ 199 h 236"/>
                <a:gd name="T10" fmla="*/ 111 w 236"/>
                <a:gd name="T11" fmla="*/ 198 h 236"/>
                <a:gd name="T12" fmla="*/ 110 w 236"/>
                <a:gd name="T13" fmla="*/ 180 h 236"/>
                <a:gd name="T14" fmla="*/ 90 w 236"/>
                <a:gd name="T15" fmla="*/ 173 h 236"/>
                <a:gd name="T16" fmla="*/ 79 w 236"/>
                <a:gd name="T17" fmla="*/ 166 h 236"/>
                <a:gd name="T18" fmla="*/ 78 w 236"/>
                <a:gd name="T19" fmla="*/ 160 h 236"/>
                <a:gd name="T20" fmla="*/ 89 w 236"/>
                <a:gd name="T21" fmla="*/ 147 h 236"/>
                <a:gd name="T22" fmla="*/ 91 w 236"/>
                <a:gd name="T23" fmla="*/ 148 h 236"/>
                <a:gd name="T24" fmla="*/ 119 w 236"/>
                <a:gd name="T25" fmla="*/ 160 h 236"/>
                <a:gd name="T26" fmla="*/ 137 w 236"/>
                <a:gd name="T27" fmla="*/ 145 h 236"/>
                <a:gd name="T28" fmla="*/ 133 w 236"/>
                <a:gd name="T29" fmla="*/ 137 h 236"/>
                <a:gd name="T30" fmla="*/ 122 w 236"/>
                <a:gd name="T31" fmla="*/ 130 h 236"/>
                <a:gd name="T32" fmla="*/ 109 w 236"/>
                <a:gd name="T33" fmla="*/ 125 h 236"/>
                <a:gd name="T34" fmla="*/ 98 w 236"/>
                <a:gd name="T35" fmla="*/ 120 h 236"/>
                <a:gd name="T36" fmla="*/ 89 w 236"/>
                <a:gd name="T37" fmla="*/ 113 h 236"/>
                <a:gd name="T38" fmla="*/ 82 w 236"/>
                <a:gd name="T39" fmla="*/ 103 h 236"/>
                <a:gd name="T40" fmla="*/ 79 w 236"/>
                <a:gd name="T41" fmla="*/ 90 h 236"/>
                <a:gd name="T42" fmla="*/ 110 w 236"/>
                <a:gd name="T43" fmla="*/ 57 h 236"/>
                <a:gd name="T44" fmla="*/ 111 w 236"/>
                <a:gd name="T45" fmla="*/ 38 h 236"/>
                <a:gd name="T46" fmla="*/ 125 w 236"/>
                <a:gd name="T47" fmla="*/ 37 h 236"/>
                <a:gd name="T48" fmla="*/ 128 w 236"/>
                <a:gd name="T49" fmla="*/ 40 h 236"/>
                <a:gd name="T50" fmla="*/ 137 w 236"/>
                <a:gd name="T51" fmla="*/ 58 h 236"/>
                <a:gd name="T52" fmla="*/ 151 w 236"/>
                <a:gd name="T53" fmla="*/ 65 h 236"/>
                <a:gd name="T54" fmla="*/ 155 w 236"/>
                <a:gd name="T55" fmla="*/ 69 h 236"/>
                <a:gd name="T56" fmla="*/ 149 w 236"/>
                <a:gd name="T57" fmla="*/ 85 h 236"/>
                <a:gd name="T58" fmla="*/ 144 w 236"/>
                <a:gd name="T59" fmla="*/ 86 h 236"/>
                <a:gd name="T60" fmla="*/ 140 w 236"/>
                <a:gd name="T61" fmla="*/ 82 h 236"/>
                <a:gd name="T62" fmla="*/ 128 w 236"/>
                <a:gd name="T63" fmla="*/ 77 h 236"/>
                <a:gd name="T64" fmla="*/ 107 w 236"/>
                <a:gd name="T65" fmla="*/ 80 h 236"/>
                <a:gd name="T66" fmla="*/ 102 w 236"/>
                <a:gd name="T67" fmla="*/ 94 h 236"/>
                <a:gd name="T68" fmla="*/ 108 w 236"/>
                <a:gd name="T69" fmla="*/ 101 h 236"/>
                <a:gd name="T70" fmla="*/ 118 w 236"/>
                <a:gd name="T71" fmla="*/ 106 h 236"/>
                <a:gd name="T72" fmla="*/ 132 w 236"/>
                <a:gd name="T73" fmla="*/ 112 h 236"/>
                <a:gd name="T74" fmla="*/ 145 w 236"/>
                <a:gd name="T75" fmla="*/ 119 h 236"/>
                <a:gd name="T76" fmla="*/ 155 w 236"/>
                <a:gd name="T77" fmla="*/ 129 h 236"/>
                <a:gd name="T78" fmla="*/ 159 w 236"/>
                <a:gd name="T79" fmla="*/ 14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6" h="236">
                  <a:moveTo>
                    <a:pt x="118" y="0"/>
                  </a:moveTo>
                  <a:cubicBezTo>
                    <a:pt x="53" y="0"/>
                    <a:pt x="0" y="53"/>
                    <a:pt x="0" y="118"/>
                  </a:cubicBezTo>
                  <a:cubicBezTo>
                    <a:pt x="0" y="183"/>
                    <a:pt x="53" y="236"/>
                    <a:pt x="118" y="236"/>
                  </a:cubicBezTo>
                  <a:cubicBezTo>
                    <a:pt x="183" y="236"/>
                    <a:pt x="236" y="183"/>
                    <a:pt x="236" y="118"/>
                  </a:cubicBezTo>
                  <a:cubicBezTo>
                    <a:pt x="236" y="53"/>
                    <a:pt x="183" y="0"/>
                    <a:pt x="118" y="0"/>
                  </a:cubicBezTo>
                  <a:moveTo>
                    <a:pt x="150" y="168"/>
                  </a:moveTo>
                  <a:cubicBezTo>
                    <a:pt x="145" y="175"/>
                    <a:pt x="137" y="179"/>
                    <a:pt x="128" y="180"/>
                  </a:cubicBezTo>
                  <a:cubicBezTo>
                    <a:pt x="128" y="196"/>
                    <a:pt x="128" y="196"/>
                    <a:pt x="128" y="196"/>
                  </a:cubicBezTo>
                  <a:cubicBezTo>
                    <a:pt x="128" y="197"/>
                    <a:pt x="127" y="198"/>
                    <a:pt x="127" y="198"/>
                  </a:cubicBezTo>
                  <a:cubicBezTo>
                    <a:pt x="126" y="199"/>
                    <a:pt x="126" y="199"/>
                    <a:pt x="125" y="199"/>
                  </a:cubicBezTo>
                  <a:cubicBezTo>
                    <a:pt x="113" y="199"/>
                    <a:pt x="113" y="199"/>
                    <a:pt x="113" y="199"/>
                  </a:cubicBezTo>
                  <a:cubicBezTo>
                    <a:pt x="112" y="199"/>
                    <a:pt x="111" y="199"/>
                    <a:pt x="111" y="198"/>
                  </a:cubicBezTo>
                  <a:cubicBezTo>
                    <a:pt x="110" y="197"/>
                    <a:pt x="110" y="197"/>
                    <a:pt x="110" y="196"/>
                  </a:cubicBezTo>
                  <a:cubicBezTo>
                    <a:pt x="110" y="180"/>
                    <a:pt x="110" y="180"/>
                    <a:pt x="110" y="180"/>
                  </a:cubicBezTo>
                  <a:cubicBezTo>
                    <a:pt x="106" y="180"/>
                    <a:pt x="102" y="179"/>
                    <a:pt x="99" y="177"/>
                  </a:cubicBezTo>
                  <a:cubicBezTo>
                    <a:pt x="95" y="176"/>
                    <a:pt x="92" y="175"/>
                    <a:pt x="90" y="173"/>
                  </a:cubicBezTo>
                  <a:cubicBezTo>
                    <a:pt x="88" y="172"/>
                    <a:pt x="85" y="171"/>
                    <a:pt x="83" y="169"/>
                  </a:cubicBezTo>
                  <a:cubicBezTo>
                    <a:pt x="81" y="168"/>
                    <a:pt x="80" y="166"/>
                    <a:pt x="79" y="166"/>
                  </a:cubicBezTo>
                  <a:cubicBezTo>
                    <a:pt x="79" y="165"/>
                    <a:pt x="78" y="164"/>
                    <a:pt x="78" y="164"/>
                  </a:cubicBezTo>
                  <a:cubicBezTo>
                    <a:pt x="77" y="163"/>
                    <a:pt x="77" y="162"/>
                    <a:pt x="78" y="160"/>
                  </a:cubicBezTo>
                  <a:cubicBezTo>
                    <a:pt x="87" y="148"/>
                    <a:pt x="87" y="148"/>
                    <a:pt x="87" y="148"/>
                  </a:cubicBezTo>
                  <a:cubicBezTo>
                    <a:pt x="87" y="148"/>
                    <a:pt x="88" y="147"/>
                    <a:pt x="89" y="147"/>
                  </a:cubicBezTo>
                  <a:cubicBezTo>
                    <a:pt x="90" y="147"/>
                    <a:pt x="90" y="147"/>
                    <a:pt x="91" y="148"/>
                  </a:cubicBezTo>
                  <a:cubicBezTo>
                    <a:pt x="91" y="148"/>
                    <a:pt x="91" y="148"/>
                    <a:pt x="91" y="148"/>
                  </a:cubicBezTo>
                  <a:cubicBezTo>
                    <a:pt x="98" y="154"/>
                    <a:pt x="105" y="158"/>
                    <a:pt x="112" y="159"/>
                  </a:cubicBezTo>
                  <a:cubicBezTo>
                    <a:pt x="115" y="160"/>
                    <a:pt x="117" y="160"/>
                    <a:pt x="119" y="160"/>
                  </a:cubicBezTo>
                  <a:cubicBezTo>
                    <a:pt x="124" y="160"/>
                    <a:pt x="128" y="159"/>
                    <a:pt x="131" y="156"/>
                  </a:cubicBezTo>
                  <a:cubicBezTo>
                    <a:pt x="135" y="154"/>
                    <a:pt x="137" y="150"/>
                    <a:pt x="137" y="145"/>
                  </a:cubicBezTo>
                  <a:cubicBezTo>
                    <a:pt x="137" y="144"/>
                    <a:pt x="136" y="142"/>
                    <a:pt x="136" y="140"/>
                  </a:cubicBezTo>
                  <a:cubicBezTo>
                    <a:pt x="135" y="139"/>
                    <a:pt x="134" y="138"/>
                    <a:pt x="133" y="137"/>
                  </a:cubicBezTo>
                  <a:cubicBezTo>
                    <a:pt x="132" y="136"/>
                    <a:pt x="130" y="135"/>
                    <a:pt x="127" y="133"/>
                  </a:cubicBezTo>
                  <a:cubicBezTo>
                    <a:pt x="125" y="132"/>
                    <a:pt x="123" y="131"/>
                    <a:pt x="122" y="130"/>
                  </a:cubicBezTo>
                  <a:cubicBezTo>
                    <a:pt x="120" y="130"/>
                    <a:pt x="118" y="129"/>
                    <a:pt x="115" y="128"/>
                  </a:cubicBezTo>
                  <a:cubicBezTo>
                    <a:pt x="112" y="127"/>
                    <a:pt x="110" y="126"/>
                    <a:pt x="109" y="125"/>
                  </a:cubicBezTo>
                  <a:cubicBezTo>
                    <a:pt x="108" y="125"/>
                    <a:pt x="106" y="124"/>
                    <a:pt x="104" y="123"/>
                  </a:cubicBezTo>
                  <a:cubicBezTo>
                    <a:pt x="101" y="122"/>
                    <a:pt x="100" y="121"/>
                    <a:pt x="98" y="120"/>
                  </a:cubicBezTo>
                  <a:cubicBezTo>
                    <a:pt x="97" y="119"/>
                    <a:pt x="95" y="118"/>
                    <a:pt x="93" y="117"/>
                  </a:cubicBezTo>
                  <a:cubicBezTo>
                    <a:pt x="91" y="116"/>
                    <a:pt x="90" y="114"/>
                    <a:pt x="89" y="113"/>
                  </a:cubicBezTo>
                  <a:cubicBezTo>
                    <a:pt x="87" y="112"/>
                    <a:pt x="86" y="110"/>
                    <a:pt x="85" y="109"/>
                  </a:cubicBezTo>
                  <a:cubicBezTo>
                    <a:pt x="83" y="107"/>
                    <a:pt x="82" y="105"/>
                    <a:pt x="82" y="103"/>
                  </a:cubicBezTo>
                  <a:cubicBezTo>
                    <a:pt x="81" y="102"/>
                    <a:pt x="80" y="100"/>
                    <a:pt x="80" y="97"/>
                  </a:cubicBezTo>
                  <a:cubicBezTo>
                    <a:pt x="79" y="95"/>
                    <a:pt x="79" y="93"/>
                    <a:pt x="79" y="90"/>
                  </a:cubicBezTo>
                  <a:cubicBezTo>
                    <a:pt x="79" y="82"/>
                    <a:pt x="82" y="75"/>
                    <a:pt x="88" y="69"/>
                  </a:cubicBezTo>
                  <a:cubicBezTo>
                    <a:pt x="93" y="62"/>
                    <a:pt x="101" y="58"/>
                    <a:pt x="110" y="57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0" y="39"/>
                    <a:pt x="111" y="38"/>
                  </a:cubicBezTo>
                  <a:cubicBezTo>
                    <a:pt x="111" y="38"/>
                    <a:pt x="112" y="37"/>
                    <a:pt x="113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6" y="37"/>
                    <a:pt x="126" y="38"/>
                    <a:pt x="127" y="38"/>
                  </a:cubicBezTo>
                  <a:cubicBezTo>
                    <a:pt x="127" y="39"/>
                    <a:pt x="128" y="39"/>
                    <a:pt x="128" y="40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31" y="57"/>
                    <a:pt x="134" y="57"/>
                    <a:pt x="137" y="58"/>
                  </a:cubicBezTo>
                  <a:cubicBezTo>
                    <a:pt x="140" y="59"/>
                    <a:pt x="143" y="60"/>
                    <a:pt x="145" y="61"/>
                  </a:cubicBezTo>
                  <a:cubicBezTo>
                    <a:pt x="147" y="62"/>
                    <a:pt x="149" y="63"/>
                    <a:pt x="151" y="65"/>
                  </a:cubicBezTo>
                  <a:cubicBezTo>
                    <a:pt x="152" y="66"/>
                    <a:pt x="153" y="67"/>
                    <a:pt x="154" y="67"/>
                  </a:cubicBezTo>
                  <a:cubicBezTo>
                    <a:pt x="155" y="68"/>
                    <a:pt x="155" y="68"/>
                    <a:pt x="155" y="69"/>
                  </a:cubicBezTo>
                  <a:cubicBezTo>
                    <a:pt x="156" y="70"/>
                    <a:pt x="156" y="71"/>
                    <a:pt x="156" y="72"/>
                  </a:cubicBezTo>
                  <a:cubicBezTo>
                    <a:pt x="149" y="85"/>
                    <a:pt x="149" y="85"/>
                    <a:pt x="149" y="85"/>
                  </a:cubicBezTo>
                  <a:cubicBezTo>
                    <a:pt x="148" y="86"/>
                    <a:pt x="148" y="86"/>
                    <a:pt x="147" y="87"/>
                  </a:cubicBezTo>
                  <a:cubicBezTo>
                    <a:pt x="146" y="87"/>
                    <a:pt x="145" y="86"/>
                    <a:pt x="144" y="86"/>
                  </a:cubicBezTo>
                  <a:cubicBezTo>
                    <a:pt x="144" y="86"/>
                    <a:pt x="144" y="85"/>
                    <a:pt x="143" y="85"/>
                  </a:cubicBezTo>
                  <a:cubicBezTo>
                    <a:pt x="142" y="84"/>
                    <a:pt x="141" y="83"/>
                    <a:pt x="140" y="82"/>
                  </a:cubicBezTo>
                  <a:cubicBezTo>
                    <a:pt x="138" y="81"/>
                    <a:pt x="136" y="80"/>
                    <a:pt x="134" y="80"/>
                  </a:cubicBezTo>
                  <a:cubicBezTo>
                    <a:pt x="133" y="79"/>
                    <a:pt x="130" y="78"/>
                    <a:pt x="128" y="77"/>
                  </a:cubicBezTo>
                  <a:cubicBezTo>
                    <a:pt x="125" y="77"/>
                    <a:pt x="123" y="76"/>
                    <a:pt x="120" y="76"/>
                  </a:cubicBezTo>
                  <a:cubicBezTo>
                    <a:pt x="115" y="76"/>
                    <a:pt x="110" y="77"/>
                    <a:pt x="107" y="80"/>
                  </a:cubicBezTo>
                  <a:cubicBezTo>
                    <a:pt x="103" y="83"/>
                    <a:pt x="101" y="86"/>
                    <a:pt x="101" y="90"/>
                  </a:cubicBezTo>
                  <a:cubicBezTo>
                    <a:pt x="101" y="92"/>
                    <a:pt x="102" y="93"/>
                    <a:pt x="102" y="94"/>
                  </a:cubicBezTo>
                  <a:cubicBezTo>
                    <a:pt x="103" y="96"/>
                    <a:pt x="103" y="97"/>
                    <a:pt x="105" y="98"/>
                  </a:cubicBezTo>
                  <a:cubicBezTo>
                    <a:pt x="106" y="99"/>
                    <a:pt x="107" y="100"/>
                    <a:pt x="108" y="101"/>
                  </a:cubicBezTo>
                  <a:cubicBezTo>
                    <a:pt x="109" y="102"/>
                    <a:pt x="111" y="103"/>
                    <a:pt x="113" y="104"/>
                  </a:cubicBezTo>
                  <a:cubicBezTo>
                    <a:pt x="115" y="105"/>
                    <a:pt x="117" y="106"/>
                    <a:pt x="118" y="106"/>
                  </a:cubicBezTo>
                  <a:cubicBezTo>
                    <a:pt x="120" y="107"/>
                    <a:pt x="122" y="108"/>
                    <a:pt x="125" y="109"/>
                  </a:cubicBezTo>
                  <a:cubicBezTo>
                    <a:pt x="128" y="110"/>
                    <a:pt x="130" y="111"/>
                    <a:pt x="132" y="112"/>
                  </a:cubicBezTo>
                  <a:cubicBezTo>
                    <a:pt x="133" y="112"/>
                    <a:pt x="136" y="113"/>
                    <a:pt x="138" y="115"/>
                  </a:cubicBezTo>
                  <a:cubicBezTo>
                    <a:pt x="141" y="116"/>
                    <a:pt x="143" y="117"/>
                    <a:pt x="145" y="119"/>
                  </a:cubicBezTo>
                  <a:cubicBezTo>
                    <a:pt x="147" y="120"/>
                    <a:pt x="149" y="121"/>
                    <a:pt x="151" y="123"/>
                  </a:cubicBezTo>
                  <a:cubicBezTo>
                    <a:pt x="153" y="125"/>
                    <a:pt x="154" y="127"/>
                    <a:pt x="155" y="129"/>
                  </a:cubicBezTo>
                  <a:cubicBezTo>
                    <a:pt x="156" y="131"/>
                    <a:pt x="157" y="133"/>
                    <a:pt x="158" y="136"/>
                  </a:cubicBezTo>
                  <a:cubicBezTo>
                    <a:pt x="159" y="138"/>
                    <a:pt x="159" y="141"/>
                    <a:pt x="159" y="144"/>
                  </a:cubicBezTo>
                  <a:cubicBezTo>
                    <a:pt x="159" y="153"/>
                    <a:pt x="156" y="161"/>
                    <a:pt x="150" y="16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6" name="îṥḷïḋe">
              <a:extLst>
                <a:ext uri="{FF2B5EF4-FFF2-40B4-BE49-F238E27FC236}">
                  <a16:creationId xmlns:a16="http://schemas.microsoft.com/office/drawing/2014/main" id="{F16FEAAB-30EF-494F-A32B-6D5462F8D25B}"/>
                </a:ext>
              </a:extLst>
            </p:cNvPr>
            <p:cNvSpPr/>
            <p:nvPr/>
          </p:nvSpPr>
          <p:spPr bwMode="auto">
            <a:xfrm>
              <a:off x="3856865" y="3284441"/>
              <a:ext cx="716510" cy="716510"/>
            </a:xfrm>
            <a:custGeom>
              <a:avLst/>
              <a:gdLst>
                <a:gd name="T0" fmla="*/ 116 w 232"/>
                <a:gd name="T1" fmla="*/ 0 h 232"/>
                <a:gd name="T2" fmla="*/ 0 w 232"/>
                <a:gd name="T3" fmla="*/ 116 h 232"/>
                <a:gd name="T4" fmla="*/ 116 w 232"/>
                <a:gd name="T5" fmla="*/ 232 h 232"/>
                <a:gd name="T6" fmla="*/ 232 w 232"/>
                <a:gd name="T7" fmla="*/ 116 h 232"/>
                <a:gd name="T8" fmla="*/ 116 w 232"/>
                <a:gd name="T9" fmla="*/ 0 h 232"/>
                <a:gd name="T10" fmla="*/ 129 w 232"/>
                <a:gd name="T11" fmla="*/ 208 h 232"/>
                <a:gd name="T12" fmla="*/ 129 w 232"/>
                <a:gd name="T13" fmla="*/ 190 h 232"/>
                <a:gd name="T14" fmla="*/ 117 w 232"/>
                <a:gd name="T15" fmla="*/ 178 h 232"/>
                <a:gd name="T16" fmla="*/ 105 w 232"/>
                <a:gd name="T17" fmla="*/ 190 h 232"/>
                <a:gd name="T18" fmla="*/ 105 w 232"/>
                <a:gd name="T19" fmla="*/ 208 h 232"/>
                <a:gd name="T20" fmla="*/ 25 w 232"/>
                <a:gd name="T21" fmla="*/ 129 h 232"/>
                <a:gd name="T22" fmla="*/ 42 w 232"/>
                <a:gd name="T23" fmla="*/ 129 h 232"/>
                <a:gd name="T24" fmla="*/ 53 w 232"/>
                <a:gd name="T25" fmla="*/ 117 h 232"/>
                <a:gd name="T26" fmla="*/ 42 w 232"/>
                <a:gd name="T27" fmla="*/ 105 h 232"/>
                <a:gd name="T28" fmla="*/ 24 w 232"/>
                <a:gd name="T29" fmla="*/ 105 h 232"/>
                <a:gd name="T30" fmla="*/ 104 w 232"/>
                <a:gd name="T31" fmla="*/ 25 h 232"/>
                <a:gd name="T32" fmla="*/ 104 w 232"/>
                <a:gd name="T33" fmla="*/ 41 h 232"/>
                <a:gd name="T34" fmla="*/ 116 w 232"/>
                <a:gd name="T35" fmla="*/ 53 h 232"/>
                <a:gd name="T36" fmla="*/ 128 w 232"/>
                <a:gd name="T37" fmla="*/ 41 h 232"/>
                <a:gd name="T38" fmla="*/ 128 w 232"/>
                <a:gd name="T39" fmla="*/ 25 h 232"/>
                <a:gd name="T40" fmla="*/ 208 w 232"/>
                <a:gd name="T41" fmla="*/ 104 h 232"/>
                <a:gd name="T42" fmla="*/ 190 w 232"/>
                <a:gd name="T43" fmla="*/ 104 h 232"/>
                <a:gd name="T44" fmla="*/ 179 w 232"/>
                <a:gd name="T45" fmla="*/ 116 h 232"/>
                <a:gd name="T46" fmla="*/ 190 w 232"/>
                <a:gd name="T47" fmla="*/ 128 h 232"/>
                <a:gd name="T48" fmla="*/ 208 w 232"/>
                <a:gd name="T49" fmla="*/ 128 h 232"/>
                <a:gd name="T50" fmla="*/ 129 w 232"/>
                <a:gd name="T51" fmla="*/ 208 h 232"/>
                <a:gd name="T52" fmla="*/ 124 w 232"/>
                <a:gd name="T53" fmla="*/ 94 h 232"/>
                <a:gd name="T54" fmla="*/ 70 w 232"/>
                <a:gd name="T55" fmla="*/ 69 h 232"/>
                <a:gd name="T56" fmla="*/ 94 w 232"/>
                <a:gd name="T57" fmla="*/ 124 h 232"/>
                <a:gd name="T58" fmla="*/ 109 w 232"/>
                <a:gd name="T59" fmla="*/ 138 h 232"/>
                <a:gd name="T60" fmla="*/ 163 w 232"/>
                <a:gd name="T61" fmla="*/ 163 h 232"/>
                <a:gd name="T62" fmla="*/ 138 w 232"/>
                <a:gd name="T63" fmla="*/ 108 h 232"/>
                <a:gd name="T64" fmla="*/ 124 w 232"/>
                <a:gd name="T65" fmla="*/ 94 h 232"/>
                <a:gd name="T66" fmla="*/ 123 w 232"/>
                <a:gd name="T67" fmla="*/ 123 h 232"/>
                <a:gd name="T68" fmla="*/ 110 w 232"/>
                <a:gd name="T69" fmla="*/ 123 h 232"/>
                <a:gd name="T70" fmla="*/ 110 w 232"/>
                <a:gd name="T71" fmla="*/ 109 h 232"/>
                <a:gd name="T72" fmla="*/ 123 w 232"/>
                <a:gd name="T73" fmla="*/ 109 h 232"/>
                <a:gd name="T74" fmla="*/ 123 w 232"/>
                <a:gd name="T75" fmla="*/ 12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2" h="232">
                  <a:moveTo>
                    <a:pt x="116" y="0"/>
                  </a:moveTo>
                  <a:cubicBezTo>
                    <a:pt x="52" y="0"/>
                    <a:pt x="0" y="52"/>
                    <a:pt x="0" y="116"/>
                  </a:cubicBezTo>
                  <a:cubicBezTo>
                    <a:pt x="0" y="180"/>
                    <a:pt x="52" y="232"/>
                    <a:pt x="116" y="232"/>
                  </a:cubicBezTo>
                  <a:cubicBezTo>
                    <a:pt x="180" y="232"/>
                    <a:pt x="232" y="180"/>
                    <a:pt x="232" y="116"/>
                  </a:cubicBezTo>
                  <a:cubicBezTo>
                    <a:pt x="232" y="52"/>
                    <a:pt x="180" y="0"/>
                    <a:pt x="116" y="0"/>
                  </a:cubicBezTo>
                  <a:close/>
                  <a:moveTo>
                    <a:pt x="129" y="208"/>
                  </a:moveTo>
                  <a:cubicBezTo>
                    <a:pt x="129" y="190"/>
                    <a:pt x="129" y="190"/>
                    <a:pt x="129" y="190"/>
                  </a:cubicBezTo>
                  <a:cubicBezTo>
                    <a:pt x="129" y="183"/>
                    <a:pt x="123" y="178"/>
                    <a:pt x="117" y="178"/>
                  </a:cubicBezTo>
                  <a:cubicBezTo>
                    <a:pt x="110" y="178"/>
                    <a:pt x="105" y="183"/>
                    <a:pt x="105" y="190"/>
                  </a:cubicBezTo>
                  <a:cubicBezTo>
                    <a:pt x="105" y="208"/>
                    <a:pt x="105" y="208"/>
                    <a:pt x="105" y="208"/>
                  </a:cubicBezTo>
                  <a:cubicBezTo>
                    <a:pt x="63" y="203"/>
                    <a:pt x="30" y="170"/>
                    <a:pt x="25" y="129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48" y="129"/>
                    <a:pt x="53" y="123"/>
                    <a:pt x="53" y="117"/>
                  </a:cubicBezTo>
                  <a:cubicBezTo>
                    <a:pt x="53" y="110"/>
                    <a:pt x="48" y="105"/>
                    <a:pt x="42" y="105"/>
                  </a:cubicBezTo>
                  <a:cubicBezTo>
                    <a:pt x="24" y="105"/>
                    <a:pt x="24" y="105"/>
                    <a:pt x="24" y="105"/>
                  </a:cubicBezTo>
                  <a:cubicBezTo>
                    <a:pt x="29" y="63"/>
                    <a:pt x="63" y="30"/>
                    <a:pt x="104" y="25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4" y="47"/>
                    <a:pt x="109" y="53"/>
                    <a:pt x="116" y="53"/>
                  </a:cubicBezTo>
                  <a:cubicBezTo>
                    <a:pt x="122" y="53"/>
                    <a:pt x="128" y="47"/>
                    <a:pt x="128" y="41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69" y="30"/>
                    <a:pt x="202" y="63"/>
                    <a:pt x="208" y="104"/>
                  </a:cubicBezTo>
                  <a:cubicBezTo>
                    <a:pt x="190" y="104"/>
                    <a:pt x="190" y="104"/>
                    <a:pt x="190" y="104"/>
                  </a:cubicBezTo>
                  <a:cubicBezTo>
                    <a:pt x="184" y="104"/>
                    <a:pt x="179" y="109"/>
                    <a:pt x="179" y="116"/>
                  </a:cubicBezTo>
                  <a:cubicBezTo>
                    <a:pt x="179" y="122"/>
                    <a:pt x="184" y="128"/>
                    <a:pt x="190" y="128"/>
                  </a:cubicBezTo>
                  <a:cubicBezTo>
                    <a:pt x="208" y="128"/>
                    <a:pt x="208" y="128"/>
                    <a:pt x="208" y="128"/>
                  </a:cubicBezTo>
                  <a:cubicBezTo>
                    <a:pt x="203" y="169"/>
                    <a:pt x="170" y="202"/>
                    <a:pt x="129" y="208"/>
                  </a:cubicBezTo>
                  <a:close/>
                  <a:moveTo>
                    <a:pt x="124" y="94"/>
                  </a:moveTo>
                  <a:cubicBezTo>
                    <a:pt x="70" y="69"/>
                    <a:pt x="70" y="69"/>
                    <a:pt x="70" y="69"/>
                  </a:cubicBezTo>
                  <a:cubicBezTo>
                    <a:pt x="94" y="124"/>
                    <a:pt x="94" y="124"/>
                    <a:pt x="94" y="124"/>
                  </a:cubicBezTo>
                  <a:cubicBezTo>
                    <a:pt x="97" y="129"/>
                    <a:pt x="103" y="136"/>
                    <a:pt x="109" y="138"/>
                  </a:cubicBezTo>
                  <a:cubicBezTo>
                    <a:pt x="163" y="163"/>
                    <a:pt x="163" y="163"/>
                    <a:pt x="163" y="163"/>
                  </a:cubicBezTo>
                  <a:cubicBezTo>
                    <a:pt x="138" y="108"/>
                    <a:pt x="138" y="108"/>
                    <a:pt x="138" y="108"/>
                  </a:cubicBezTo>
                  <a:cubicBezTo>
                    <a:pt x="136" y="103"/>
                    <a:pt x="130" y="96"/>
                    <a:pt x="124" y="94"/>
                  </a:cubicBezTo>
                  <a:close/>
                  <a:moveTo>
                    <a:pt x="123" y="123"/>
                  </a:moveTo>
                  <a:cubicBezTo>
                    <a:pt x="119" y="126"/>
                    <a:pt x="113" y="126"/>
                    <a:pt x="110" y="123"/>
                  </a:cubicBezTo>
                  <a:cubicBezTo>
                    <a:pt x="106" y="119"/>
                    <a:pt x="106" y="113"/>
                    <a:pt x="110" y="109"/>
                  </a:cubicBezTo>
                  <a:cubicBezTo>
                    <a:pt x="113" y="106"/>
                    <a:pt x="119" y="106"/>
                    <a:pt x="123" y="109"/>
                  </a:cubicBezTo>
                  <a:cubicBezTo>
                    <a:pt x="127" y="113"/>
                    <a:pt x="127" y="119"/>
                    <a:pt x="123" y="1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7" name="isḷiḑé">
              <a:extLst>
                <a:ext uri="{FF2B5EF4-FFF2-40B4-BE49-F238E27FC236}">
                  <a16:creationId xmlns:a16="http://schemas.microsoft.com/office/drawing/2014/main" id="{058AB565-7FEB-4111-B1C0-F95BA124FFC2}"/>
                </a:ext>
              </a:extLst>
            </p:cNvPr>
            <p:cNvSpPr/>
            <p:nvPr/>
          </p:nvSpPr>
          <p:spPr bwMode="auto">
            <a:xfrm>
              <a:off x="5135686" y="3284441"/>
              <a:ext cx="716510" cy="716510"/>
            </a:xfrm>
            <a:custGeom>
              <a:avLst/>
              <a:gdLst>
                <a:gd name="T0" fmla="*/ 182 w 236"/>
                <a:gd name="T1" fmla="*/ 109 h 236"/>
                <a:gd name="T2" fmla="*/ 157 w 236"/>
                <a:gd name="T3" fmla="*/ 103 h 236"/>
                <a:gd name="T4" fmla="*/ 134 w 236"/>
                <a:gd name="T5" fmla="*/ 102 h 236"/>
                <a:gd name="T6" fmla="*/ 120 w 236"/>
                <a:gd name="T7" fmla="*/ 114 h 236"/>
                <a:gd name="T8" fmla="*/ 118 w 236"/>
                <a:gd name="T9" fmla="*/ 129 h 236"/>
                <a:gd name="T10" fmla="*/ 122 w 236"/>
                <a:gd name="T11" fmla="*/ 141 h 236"/>
                <a:gd name="T12" fmla="*/ 135 w 236"/>
                <a:gd name="T13" fmla="*/ 156 h 236"/>
                <a:gd name="T14" fmla="*/ 139 w 236"/>
                <a:gd name="T15" fmla="*/ 185 h 236"/>
                <a:gd name="T16" fmla="*/ 152 w 236"/>
                <a:gd name="T17" fmla="*/ 198 h 236"/>
                <a:gd name="T18" fmla="*/ 169 w 236"/>
                <a:gd name="T19" fmla="*/ 180 h 236"/>
                <a:gd name="T20" fmla="*/ 187 w 236"/>
                <a:gd name="T21" fmla="*/ 150 h 236"/>
                <a:gd name="T22" fmla="*/ 200 w 236"/>
                <a:gd name="T23" fmla="*/ 122 h 236"/>
                <a:gd name="T24" fmla="*/ 182 w 236"/>
                <a:gd name="T25" fmla="*/ 109 h 236"/>
                <a:gd name="T26" fmla="*/ 118 w 236"/>
                <a:gd name="T27" fmla="*/ 0 h 236"/>
                <a:gd name="T28" fmla="*/ 0 w 236"/>
                <a:gd name="T29" fmla="*/ 118 h 236"/>
                <a:gd name="T30" fmla="*/ 118 w 236"/>
                <a:gd name="T31" fmla="*/ 236 h 236"/>
                <a:gd name="T32" fmla="*/ 236 w 236"/>
                <a:gd name="T33" fmla="*/ 118 h 236"/>
                <a:gd name="T34" fmla="*/ 118 w 236"/>
                <a:gd name="T35" fmla="*/ 0 h 236"/>
                <a:gd name="T36" fmla="*/ 126 w 236"/>
                <a:gd name="T37" fmla="*/ 212 h 236"/>
                <a:gd name="T38" fmla="*/ 128 w 236"/>
                <a:gd name="T39" fmla="*/ 208 h 236"/>
                <a:gd name="T40" fmla="*/ 125 w 236"/>
                <a:gd name="T41" fmla="*/ 186 h 236"/>
                <a:gd name="T42" fmla="*/ 105 w 236"/>
                <a:gd name="T43" fmla="*/ 186 h 236"/>
                <a:gd name="T44" fmla="*/ 98 w 236"/>
                <a:gd name="T45" fmla="*/ 207 h 236"/>
                <a:gd name="T46" fmla="*/ 102 w 236"/>
                <a:gd name="T47" fmla="*/ 211 h 236"/>
                <a:gd name="T48" fmla="*/ 34 w 236"/>
                <a:gd name="T49" fmla="*/ 161 h 236"/>
                <a:gd name="T50" fmla="*/ 44 w 236"/>
                <a:gd name="T51" fmla="*/ 157 h 236"/>
                <a:gd name="T52" fmla="*/ 44 w 236"/>
                <a:gd name="T53" fmla="*/ 157 h 236"/>
                <a:gd name="T54" fmla="*/ 81 w 236"/>
                <a:gd name="T55" fmla="*/ 142 h 236"/>
                <a:gd name="T56" fmla="*/ 81 w 236"/>
                <a:gd name="T57" fmla="*/ 118 h 236"/>
                <a:gd name="T58" fmla="*/ 55 w 236"/>
                <a:gd name="T59" fmla="*/ 94 h 236"/>
                <a:gd name="T60" fmla="*/ 28 w 236"/>
                <a:gd name="T61" fmla="*/ 90 h 236"/>
                <a:gd name="T62" fmla="*/ 84 w 236"/>
                <a:gd name="T63" fmla="*/ 30 h 236"/>
                <a:gd name="T64" fmla="*/ 84 w 236"/>
                <a:gd name="T65" fmla="*/ 31 h 236"/>
                <a:gd name="T66" fmla="*/ 102 w 236"/>
                <a:gd name="T67" fmla="*/ 56 h 236"/>
                <a:gd name="T68" fmla="*/ 120 w 236"/>
                <a:gd name="T69" fmla="*/ 79 h 236"/>
                <a:gd name="T70" fmla="*/ 131 w 236"/>
                <a:gd name="T71" fmla="*/ 97 h 236"/>
                <a:gd name="T72" fmla="*/ 146 w 236"/>
                <a:gd name="T73" fmla="*/ 88 h 236"/>
                <a:gd name="T74" fmla="*/ 177 w 236"/>
                <a:gd name="T75" fmla="*/ 66 h 236"/>
                <a:gd name="T76" fmla="*/ 190 w 236"/>
                <a:gd name="T77" fmla="*/ 57 h 236"/>
                <a:gd name="T78" fmla="*/ 212 w 236"/>
                <a:gd name="T79" fmla="*/ 118 h 236"/>
                <a:gd name="T80" fmla="*/ 126 w 236"/>
                <a:gd name="T81" fmla="*/ 212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36" h="236">
                  <a:moveTo>
                    <a:pt x="182" y="109"/>
                  </a:moveTo>
                  <a:cubicBezTo>
                    <a:pt x="172" y="107"/>
                    <a:pt x="161" y="105"/>
                    <a:pt x="157" y="103"/>
                  </a:cubicBezTo>
                  <a:cubicBezTo>
                    <a:pt x="153" y="102"/>
                    <a:pt x="143" y="101"/>
                    <a:pt x="134" y="102"/>
                  </a:cubicBezTo>
                  <a:cubicBezTo>
                    <a:pt x="125" y="103"/>
                    <a:pt x="119" y="109"/>
                    <a:pt x="120" y="114"/>
                  </a:cubicBezTo>
                  <a:cubicBezTo>
                    <a:pt x="121" y="119"/>
                    <a:pt x="120" y="126"/>
                    <a:pt x="118" y="129"/>
                  </a:cubicBezTo>
                  <a:cubicBezTo>
                    <a:pt x="117" y="132"/>
                    <a:pt x="118" y="138"/>
                    <a:pt x="122" y="141"/>
                  </a:cubicBezTo>
                  <a:cubicBezTo>
                    <a:pt x="127" y="144"/>
                    <a:pt x="132" y="151"/>
                    <a:pt x="135" y="156"/>
                  </a:cubicBezTo>
                  <a:cubicBezTo>
                    <a:pt x="138" y="162"/>
                    <a:pt x="140" y="175"/>
                    <a:pt x="139" y="185"/>
                  </a:cubicBezTo>
                  <a:cubicBezTo>
                    <a:pt x="139" y="195"/>
                    <a:pt x="145" y="201"/>
                    <a:pt x="152" y="198"/>
                  </a:cubicBezTo>
                  <a:cubicBezTo>
                    <a:pt x="160" y="195"/>
                    <a:pt x="167" y="187"/>
                    <a:pt x="169" y="180"/>
                  </a:cubicBezTo>
                  <a:cubicBezTo>
                    <a:pt x="171" y="174"/>
                    <a:pt x="179" y="160"/>
                    <a:pt x="187" y="150"/>
                  </a:cubicBezTo>
                  <a:cubicBezTo>
                    <a:pt x="195" y="140"/>
                    <a:pt x="201" y="127"/>
                    <a:pt x="200" y="122"/>
                  </a:cubicBezTo>
                  <a:cubicBezTo>
                    <a:pt x="200" y="116"/>
                    <a:pt x="191" y="111"/>
                    <a:pt x="182" y="109"/>
                  </a:cubicBezTo>
                  <a:close/>
                  <a:moveTo>
                    <a:pt x="118" y="0"/>
                  </a:moveTo>
                  <a:cubicBezTo>
                    <a:pt x="53" y="0"/>
                    <a:pt x="0" y="53"/>
                    <a:pt x="0" y="118"/>
                  </a:cubicBezTo>
                  <a:cubicBezTo>
                    <a:pt x="0" y="183"/>
                    <a:pt x="53" y="236"/>
                    <a:pt x="118" y="236"/>
                  </a:cubicBezTo>
                  <a:cubicBezTo>
                    <a:pt x="183" y="236"/>
                    <a:pt x="236" y="183"/>
                    <a:pt x="236" y="118"/>
                  </a:cubicBezTo>
                  <a:cubicBezTo>
                    <a:pt x="236" y="53"/>
                    <a:pt x="183" y="0"/>
                    <a:pt x="118" y="0"/>
                  </a:cubicBezTo>
                  <a:close/>
                  <a:moveTo>
                    <a:pt x="126" y="212"/>
                  </a:moveTo>
                  <a:cubicBezTo>
                    <a:pt x="127" y="211"/>
                    <a:pt x="128" y="209"/>
                    <a:pt x="128" y="208"/>
                  </a:cubicBezTo>
                  <a:cubicBezTo>
                    <a:pt x="130" y="201"/>
                    <a:pt x="128" y="191"/>
                    <a:pt x="125" y="186"/>
                  </a:cubicBezTo>
                  <a:cubicBezTo>
                    <a:pt x="121" y="181"/>
                    <a:pt x="112" y="181"/>
                    <a:pt x="105" y="186"/>
                  </a:cubicBezTo>
                  <a:cubicBezTo>
                    <a:pt x="97" y="191"/>
                    <a:pt x="94" y="200"/>
                    <a:pt x="98" y="207"/>
                  </a:cubicBezTo>
                  <a:cubicBezTo>
                    <a:pt x="99" y="208"/>
                    <a:pt x="100" y="210"/>
                    <a:pt x="102" y="211"/>
                  </a:cubicBezTo>
                  <a:cubicBezTo>
                    <a:pt x="72" y="206"/>
                    <a:pt x="47" y="187"/>
                    <a:pt x="34" y="161"/>
                  </a:cubicBezTo>
                  <a:cubicBezTo>
                    <a:pt x="37" y="161"/>
                    <a:pt x="40" y="159"/>
                    <a:pt x="44" y="157"/>
                  </a:cubicBezTo>
                  <a:cubicBezTo>
                    <a:pt x="44" y="157"/>
                    <a:pt x="44" y="157"/>
                    <a:pt x="44" y="157"/>
                  </a:cubicBezTo>
                  <a:cubicBezTo>
                    <a:pt x="57" y="148"/>
                    <a:pt x="74" y="141"/>
                    <a:pt x="81" y="142"/>
                  </a:cubicBezTo>
                  <a:cubicBezTo>
                    <a:pt x="89" y="142"/>
                    <a:pt x="89" y="131"/>
                    <a:pt x="81" y="118"/>
                  </a:cubicBezTo>
                  <a:cubicBezTo>
                    <a:pt x="74" y="105"/>
                    <a:pt x="62" y="94"/>
                    <a:pt x="55" y="94"/>
                  </a:cubicBezTo>
                  <a:cubicBezTo>
                    <a:pt x="48" y="94"/>
                    <a:pt x="36" y="92"/>
                    <a:pt x="28" y="90"/>
                  </a:cubicBezTo>
                  <a:cubicBezTo>
                    <a:pt x="37" y="62"/>
                    <a:pt x="58" y="41"/>
                    <a:pt x="84" y="30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6" y="39"/>
                    <a:pt x="95" y="50"/>
                    <a:pt x="102" y="56"/>
                  </a:cubicBezTo>
                  <a:cubicBezTo>
                    <a:pt x="110" y="62"/>
                    <a:pt x="118" y="72"/>
                    <a:pt x="120" y="79"/>
                  </a:cubicBezTo>
                  <a:cubicBezTo>
                    <a:pt x="122" y="85"/>
                    <a:pt x="127" y="93"/>
                    <a:pt x="131" y="97"/>
                  </a:cubicBezTo>
                  <a:cubicBezTo>
                    <a:pt x="136" y="100"/>
                    <a:pt x="142" y="96"/>
                    <a:pt x="146" y="88"/>
                  </a:cubicBezTo>
                  <a:cubicBezTo>
                    <a:pt x="150" y="80"/>
                    <a:pt x="164" y="70"/>
                    <a:pt x="177" y="66"/>
                  </a:cubicBezTo>
                  <a:cubicBezTo>
                    <a:pt x="183" y="64"/>
                    <a:pt x="187" y="61"/>
                    <a:pt x="190" y="57"/>
                  </a:cubicBezTo>
                  <a:cubicBezTo>
                    <a:pt x="204" y="74"/>
                    <a:pt x="212" y="95"/>
                    <a:pt x="212" y="118"/>
                  </a:cubicBezTo>
                  <a:cubicBezTo>
                    <a:pt x="212" y="168"/>
                    <a:pt x="174" y="208"/>
                    <a:pt x="126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8" name="íśḻíḍê">
              <a:extLst>
                <a:ext uri="{FF2B5EF4-FFF2-40B4-BE49-F238E27FC236}">
                  <a16:creationId xmlns:a16="http://schemas.microsoft.com/office/drawing/2014/main" id="{39340196-E1AA-4B49-976A-BF366BB2B662}"/>
                </a:ext>
              </a:extLst>
            </p:cNvPr>
            <p:cNvSpPr/>
            <p:nvPr/>
          </p:nvSpPr>
          <p:spPr bwMode="auto">
            <a:xfrm>
              <a:off x="691600" y="2229415"/>
              <a:ext cx="2354259" cy="6307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r" defTabSz="914377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Copy paste fonts. Choose the only option to retain text.</a:t>
              </a:r>
            </a:p>
          </p:txBody>
        </p:sp>
        <p:sp>
          <p:nvSpPr>
            <p:cNvPr id="19" name="îs1ïdè">
              <a:extLst>
                <a:ext uri="{FF2B5EF4-FFF2-40B4-BE49-F238E27FC236}">
                  <a16:creationId xmlns:a16="http://schemas.microsoft.com/office/drawing/2014/main" id="{4D5C24C6-4DD0-4193-AD42-019C1134797B}"/>
                </a:ext>
              </a:extLst>
            </p:cNvPr>
            <p:cNvSpPr txBox="1"/>
            <p:nvPr/>
          </p:nvSpPr>
          <p:spPr bwMode="auto">
            <a:xfrm>
              <a:off x="691600" y="1790824"/>
              <a:ext cx="2354259" cy="4385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首创与开源</a:t>
              </a:r>
              <a:endPara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0" name="í$lïďê">
              <a:extLst>
                <a:ext uri="{FF2B5EF4-FFF2-40B4-BE49-F238E27FC236}">
                  <a16:creationId xmlns:a16="http://schemas.microsoft.com/office/drawing/2014/main" id="{39340196-E1AA-4B49-976A-BF366BB2B662}"/>
                </a:ext>
              </a:extLst>
            </p:cNvPr>
            <p:cNvSpPr/>
            <p:nvPr/>
          </p:nvSpPr>
          <p:spPr bwMode="auto">
            <a:xfrm>
              <a:off x="1964608" y="5131869"/>
              <a:ext cx="2354259" cy="6307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r" defTabSz="914377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Copy paste fonts. Choose the only option to retain text.</a:t>
              </a:r>
            </a:p>
          </p:txBody>
        </p:sp>
        <p:sp>
          <p:nvSpPr>
            <p:cNvPr id="21" name="íṣlíḍê">
              <a:extLst>
                <a:ext uri="{FF2B5EF4-FFF2-40B4-BE49-F238E27FC236}">
                  <a16:creationId xmlns:a16="http://schemas.microsoft.com/office/drawing/2014/main" id="{4D5C24C6-4DD0-4193-AD42-019C1134797B}"/>
                </a:ext>
              </a:extLst>
            </p:cNvPr>
            <p:cNvSpPr txBox="1"/>
            <p:nvPr/>
          </p:nvSpPr>
          <p:spPr bwMode="auto">
            <a:xfrm>
              <a:off x="1964608" y="4693278"/>
              <a:ext cx="2354259" cy="4385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协作与分享</a:t>
              </a:r>
              <a:endPara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2" name="î$1iḋê">
              <a:extLst>
                <a:ext uri="{FF2B5EF4-FFF2-40B4-BE49-F238E27FC236}">
                  <a16:creationId xmlns:a16="http://schemas.microsoft.com/office/drawing/2014/main" id="{39340196-E1AA-4B49-976A-BF366BB2B662}"/>
                </a:ext>
              </a:extLst>
            </p:cNvPr>
            <p:cNvSpPr/>
            <p:nvPr/>
          </p:nvSpPr>
          <p:spPr bwMode="auto">
            <a:xfrm>
              <a:off x="9183367" y="2178491"/>
              <a:ext cx="2354259" cy="6307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l" defTabSz="914377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Copy paste fonts. Choose the only option to retain text.</a:t>
              </a:r>
            </a:p>
          </p:txBody>
        </p:sp>
        <p:sp>
          <p:nvSpPr>
            <p:cNvPr id="23" name="îṡľïḑe">
              <a:extLst>
                <a:ext uri="{FF2B5EF4-FFF2-40B4-BE49-F238E27FC236}">
                  <a16:creationId xmlns:a16="http://schemas.microsoft.com/office/drawing/2014/main" id="{4D5C24C6-4DD0-4193-AD42-019C1134797B}"/>
                </a:ext>
              </a:extLst>
            </p:cNvPr>
            <p:cNvSpPr txBox="1"/>
            <p:nvPr/>
          </p:nvSpPr>
          <p:spPr bwMode="auto">
            <a:xfrm>
              <a:off x="9183367" y="1739900"/>
              <a:ext cx="2354259" cy="4385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注重企业家与团队精神</a:t>
              </a:r>
              <a:endPara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4" name="iŝľíde">
              <a:extLst>
                <a:ext uri="{FF2B5EF4-FFF2-40B4-BE49-F238E27FC236}">
                  <a16:creationId xmlns:a16="http://schemas.microsoft.com/office/drawing/2014/main" id="{39340196-E1AA-4B49-976A-BF366BB2B662}"/>
                </a:ext>
              </a:extLst>
            </p:cNvPr>
            <p:cNvSpPr/>
            <p:nvPr/>
          </p:nvSpPr>
          <p:spPr bwMode="auto">
            <a:xfrm>
              <a:off x="7859439" y="5131869"/>
              <a:ext cx="2354259" cy="6307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l" defTabSz="914377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Copy paste fonts. Choose the only option to retain text.</a:t>
              </a:r>
            </a:p>
          </p:txBody>
        </p:sp>
        <p:sp>
          <p:nvSpPr>
            <p:cNvPr id="25" name="ïṧľíḓe">
              <a:extLst>
                <a:ext uri="{FF2B5EF4-FFF2-40B4-BE49-F238E27FC236}">
                  <a16:creationId xmlns:a16="http://schemas.microsoft.com/office/drawing/2014/main" id="{4D5C24C6-4DD0-4193-AD42-019C1134797B}"/>
                </a:ext>
              </a:extLst>
            </p:cNvPr>
            <p:cNvSpPr txBox="1"/>
            <p:nvPr/>
          </p:nvSpPr>
          <p:spPr bwMode="auto">
            <a:xfrm>
              <a:off x="7859439" y="4693278"/>
              <a:ext cx="2354259" cy="4385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强调将梦想变为现实</a:t>
              </a:r>
              <a:endPara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</p:grpSp>
      <p:sp>
        <p:nvSpPr>
          <p:cNvPr id="28" name="标题 1">
            <a:extLst>
              <a:ext uri="{FF2B5EF4-FFF2-40B4-BE49-F238E27FC236}">
                <a16:creationId xmlns:a16="http://schemas.microsoft.com/office/drawing/2014/main" id="{A5C882E1-0855-4BBF-83DD-CE5902EFCD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 err="1"/>
              <a:t>i</a:t>
            </a:r>
            <a:r>
              <a:rPr lang="en-US" altLang="zh-CN" dirty="0"/>
              <a:t>-Center</a:t>
            </a:r>
            <a:r>
              <a:rPr lang="zh-CN" altLang="en-US" dirty="0"/>
              <a:t>的创客精神</a:t>
            </a:r>
          </a:p>
        </p:txBody>
      </p:sp>
    </p:spTree>
    <p:extLst>
      <p:ext uri="{BB962C8B-B14F-4D97-AF65-F5344CB8AC3E}">
        <p14:creationId xmlns:p14="http://schemas.microsoft.com/office/powerpoint/2010/main" val="6435620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CC1F2B7-3837-484F-9191-E9C61795F4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i</a:t>
            </a:r>
            <a:r>
              <a:rPr lang="en-US" altLang="zh-CN" dirty="0"/>
              <a:t>-Center</a:t>
            </a:r>
            <a:r>
              <a:rPr lang="zh-CN" altLang="en-US" dirty="0"/>
              <a:t>教学体系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D205B11-9C84-4762-B6A3-330DBCE74D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grpSp>
        <p:nvGrpSpPr>
          <p:cNvPr id="5" name="a4457cd7-beff-4020-a70b-0fbcf7ed79f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65280A5-9F2B-48AF-81A1-29A39C2DDC7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3100" y="1474850"/>
            <a:ext cx="11112650" cy="4361119"/>
            <a:chOff x="673100" y="1474850"/>
            <a:chExt cx="11112650" cy="4361119"/>
          </a:xfrm>
        </p:grpSpPr>
        <p:sp>
          <p:nvSpPr>
            <p:cNvPr id="6" name="íṧļiḓê">
              <a:extLst>
                <a:ext uri="{FF2B5EF4-FFF2-40B4-BE49-F238E27FC236}">
                  <a16:creationId xmlns:a16="http://schemas.microsoft.com/office/drawing/2014/main" id="{2F95BD0C-3D0E-4A9D-ADED-99F47C0B199D}"/>
                </a:ext>
              </a:extLst>
            </p:cNvPr>
            <p:cNvSpPr/>
            <p:nvPr/>
          </p:nvSpPr>
          <p:spPr bwMode="auto">
            <a:xfrm flipH="1">
              <a:off x="2254651" y="1484250"/>
              <a:ext cx="2304375" cy="4318000"/>
            </a:xfrm>
            <a:custGeom>
              <a:avLst/>
              <a:gdLst>
                <a:gd name="T0" fmla="*/ 463 w 493"/>
                <a:gd name="T1" fmla="*/ 928 h 928"/>
                <a:gd name="T2" fmla="*/ 0 w 493"/>
                <a:gd name="T3" fmla="*/ 464 h 928"/>
                <a:gd name="T4" fmla="*/ 463 w 493"/>
                <a:gd name="T5" fmla="*/ 0 h 928"/>
                <a:gd name="T6" fmla="*/ 493 w 493"/>
                <a:gd name="T7" fmla="*/ 30 h 928"/>
                <a:gd name="T8" fmla="*/ 463 w 493"/>
                <a:gd name="T9" fmla="*/ 60 h 928"/>
                <a:gd name="T10" fmla="*/ 60 w 493"/>
                <a:gd name="T11" fmla="*/ 464 h 928"/>
                <a:gd name="T12" fmla="*/ 463 w 493"/>
                <a:gd name="T13" fmla="*/ 868 h 928"/>
                <a:gd name="T14" fmla="*/ 493 w 493"/>
                <a:gd name="T15" fmla="*/ 898 h 928"/>
                <a:gd name="T16" fmla="*/ 463 w 493"/>
                <a:gd name="T17" fmla="*/ 928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3" h="928">
                  <a:moveTo>
                    <a:pt x="463" y="928"/>
                  </a:moveTo>
                  <a:cubicBezTo>
                    <a:pt x="208" y="928"/>
                    <a:pt x="0" y="720"/>
                    <a:pt x="0" y="464"/>
                  </a:cubicBezTo>
                  <a:cubicBezTo>
                    <a:pt x="0" y="208"/>
                    <a:pt x="208" y="0"/>
                    <a:pt x="463" y="0"/>
                  </a:cubicBezTo>
                  <a:cubicBezTo>
                    <a:pt x="480" y="0"/>
                    <a:pt x="493" y="14"/>
                    <a:pt x="493" y="30"/>
                  </a:cubicBezTo>
                  <a:cubicBezTo>
                    <a:pt x="493" y="47"/>
                    <a:pt x="480" y="60"/>
                    <a:pt x="463" y="60"/>
                  </a:cubicBezTo>
                  <a:cubicBezTo>
                    <a:pt x="241" y="60"/>
                    <a:pt x="60" y="241"/>
                    <a:pt x="60" y="464"/>
                  </a:cubicBezTo>
                  <a:cubicBezTo>
                    <a:pt x="60" y="687"/>
                    <a:pt x="241" y="868"/>
                    <a:pt x="463" y="868"/>
                  </a:cubicBezTo>
                  <a:cubicBezTo>
                    <a:pt x="480" y="868"/>
                    <a:pt x="493" y="881"/>
                    <a:pt x="493" y="898"/>
                  </a:cubicBezTo>
                  <a:cubicBezTo>
                    <a:pt x="493" y="914"/>
                    <a:pt x="480" y="928"/>
                    <a:pt x="463" y="92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FEA247FC-B659-4ACD-BD6D-5AAF5C1A02A6}"/>
                </a:ext>
              </a:extLst>
            </p:cNvPr>
            <p:cNvCxnSpPr>
              <a:cxnSpLocks/>
              <a:stCxn id="16" idx="0"/>
            </p:cNvCxnSpPr>
            <p:nvPr/>
          </p:nvCxnSpPr>
          <p:spPr>
            <a:xfrm>
              <a:off x="3066448" y="1474850"/>
              <a:ext cx="845404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</p:cxn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46713D1E-E49A-4C24-8B5E-2F04EE9859BD}"/>
                </a:ext>
              </a:extLst>
            </p:cNvPr>
            <p:cNvCxnSpPr>
              <a:cxnSpLocks/>
              <a:stCxn id="17" idx="0"/>
            </p:cNvCxnSpPr>
            <p:nvPr/>
          </p:nvCxnSpPr>
          <p:spPr>
            <a:xfrm>
              <a:off x="3066448" y="5211051"/>
              <a:ext cx="845404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</p:cxnSp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id="{52E97B48-D955-4268-850C-0D7765CD3062}"/>
                </a:ext>
              </a:extLst>
            </p:cNvPr>
            <p:cNvCxnSpPr>
              <a:cxnSpLocks/>
            </p:cNvCxnSpPr>
            <p:nvPr/>
          </p:nvCxnSpPr>
          <p:spPr>
            <a:xfrm>
              <a:off x="4581764" y="3313112"/>
              <a:ext cx="7203986" cy="0"/>
            </a:xfrm>
            <a:prstGeom prst="line">
              <a:avLst/>
            </a:prstGeom>
            <a:noFill/>
            <a:ln w="6350" cap="flat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</p:cxnSp>
        <p:grpSp>
          <p:nvGrpSpPr>
            <p:cNvPr id="11" name="ïṣ1iḓé">
              <a:extLst>
                <a:ext uri="{FF2B5EF4-FFF2-40B4-BE49-F238E27FC236}">
                  <a16:creationId xmlns:a16="http://schemas.microsoft.com/office/drawing/2014/main" id="{B94A73A0-6FCC-4DE0-86F3-CA3EF844C6B4}"/>
                </a:ext>
              </a:extLst>
            </p:cNvPr>
            <p:cNvGrpSpPr/>
            <p:nvPr/>
          </p:nvGrpSpPr>
          <p:grpSpPr>
            <a:xfrm>
              <a:off x="7761155" y="3441137"/>
              <a:ext cx="952304" cy="616203"/>
              <a:chOff x="6349908" y="3947608"/>
              <a:chExt cx="952304" cy="616203"/>
            </a:xfrm>
          </p:grpSpPr>
          <p:sp>
            <p:nvSpPr>
              <p:cNvPr id="34" name="ïSḷîḋè">
                <a:extLst>
                  <a:ext uri="{FF2B5EF4-FFF2-40B4-BE49-F238E27FC236}">
                    <a16:creationId xmlns:a16="http://schemas.microsoft.com/office/drawing/2014/main" id="{60C10615-D303-42C8-9AF2-5DCC350A4E39}"/>
                  </a:ext>
                </a:extLst>
              </p:cNvPr>
              <p:cNvSpPr txBox="1"/>
              <p:nvPr/>
            </p:nvSpPr>
            <p:spPr>
              <a:xfrm>
                <a:off x="6349908" y="4225257"/>
                <a:ext cx="952304" cy="33855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Jul-Sep</a:t>
                </a:r>
              </a:p>
            </p:txBody>
          </p:sp>
          <p:grpSp>
            <p:nvGrpSpPr>
              <p:cNvPr id="35" name="îṥḻîdê">
                <a:extLst>
                  <a:ext uri="{FF2B5EF4-FFF2-40B4-BE49-F238E27FC236}">
                    <a16:creationId xmlns:a16="http://schemas.microsoft.com/office/drawing/2014/main" id="{A67B5E77-10C4-4CC1-9828-380CF83F311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697923" y="3947608"/>
                <a:ext cx="256271" cy="251999"/>
                <a:chOff x="314325" y="2508251"/>
                <a:chExt cx="285750" cy="280987"/>
              </a:xfrm>
              <a:solidFill>
                <a:sysClr val="window" lastClr="FFFFFF"/>
              </a:solidFill>
            </p:grpSpPr>
            <p:sp>
              <p:nvSpPr>
                <p:cNvPr id="36" name="íšľïdè">
                  <a:extLst>
                    <a:ext uri="{FF2B5EF4-FFF2-40B4-BE49-F238E27FC236}">
                      <a16:creationId xmlns:a16="http://schemas.microsoft.com/office/drawing/2014/main" id="{FEDE9385-6780-4AAE-BEFE-44AFE42FD461}"/>
                    </a:ext>
                  </a:extLst>
                </p:cNvPr>
                <p:cNvSpPr/>
                <p:nvPr/>
              </p:nvSpPr>
              <p:spPr bwMode="auto">
                <a:xfrm>
                  <a:off x="314325" y="2508251"/>
                  <a:ext cx="214313" cy="195263"/>
                </a:xfrm>
                <a:custGeom>
                  <a:avLst/>
                  <a:gdLst>
                    <a:gd name="T0" fmla="*/ 383 w 674"/>
                    <a:gd name="T1" fmla="*/ 32 h 615"/>
                    <a:gd name="T2" fmla="*/ 442 w 674"/>
                    <a:gd name="T3" fmla="*/ 45 h 615"/>
                    <a:gd name="T4" fmla="*/ 495 w 674"/>
                    <a:gd name="T5" fmla="*/ 65 h 615"/>
                    <a:gd name="T6" fmla="*/ 544 w 674"/>
                    <a:gd name="T7" fmla="*/ 94 h 615"/>
                    <a:gd name="T8" fmla="*/ 583 w 674"/>
                    <a:gd name="T9" fmla="*/ 129 h 615"/>
                    <a:gd name="T10" fmla="*/ 613 w 674"/>
                    <a:gd name="T11" fmla="*/ 170 h 615"/>
                    <a:gd name="T12" fmla="*/ 635 w 674"/>
                    <a:gd name="T13" fmla="*/ 215 h 615"/>
                    <a:gd name="T14" fmla="*/ 643 w 674"/>
                    <a:gd name="T15" fmla="*/ 264 h 615"/>
                    <a:gd name="T16" fmla="*/ 672 w 674"/>
                    <a:gd name="T17" fmla="*/ 249 h 615"/>
                    <a:gd name="T18" fmla="*/ 659 w 674"/>
                    <a:gd name="T19" fmla="*/ 194 h 615"/>
                    <a:gd name="T20" fmla="*/ 633 w 674"/>
                    <a:gd name="T21" fmla="*/ 144 h 615"/>
                    <a:gd name="T22" fmla="*/ 597 w 674"/>
                    <a:gd name="T23" fmla="*/ 100 h 615"/>
                    <a:gd name="T24" fmla="*/ 551 w 674"/>
                    <a:gd name="T25" fmla="*/ 63 h 615"/>
                    <a:gd name="T26" fmla="*/ 498 w 674"/>
                    <a:gd name="T27" fmla="*/ 33 h 615"/>
                    <a:gd name="T28" fmla="*/ 437 w 674"/>
                    <a:gd name="T29" fmla="*/ 11 h 615"/>
                    <a:gd name="T30" fmla="*/ 371 w 674"/>
                    <a:gd name="T31" fmla="*/ 1 h 615"/>
                    <a:gd name="T32" fmla="*/ 303 w 674"/>
                    <a:gd name="T33" fmla="*/ 1 h 615"/>
                    <a:gd name="T34" fmla="*/ 236 w 674"/>
                    <a:gd name="T35" fmla="*/ 11 h 615"/>
                    <a:gd name="T36" fmla="*/ 177 w 674"/>
                    <a:gd name="T37" fmla="*/ 33 h 615"/>
                    <a:gd name="T38" fmla="*/ 123 w 674"/>
                    <a:gd name="T39" fmla="*/ 63 h 615"/>
                    <a:gd name="T40" fmla="*/ 77 w 674"/>
                    <a:gd name="T41" fmla="*/ 100 h 615"/>
                    <a:gd name="T42" fmla="*/ 41 w 674"/>
                    <a:gd name="T43" fmla="*/ 145 h 615"/>
                    <a:gd name="T44" fmla="*/ 15 w 674"/>
                    <a:gd name="T45" fmla="*/ 194 h 615"/>
                    <a:gd name="T46" fmla="*/ 2 w 674"/>
                    <a:gd name="T47" fmla="*/ 249 h 615"/>
                    <a:gd name="T48" fmla="*/ 1 w 674"/>
                    <a:gd name="T49" fmla="*/ 305 h 615"/>
                    <a:gd name="T50" fmla="*/ 13 w 674"/>
                    <a:gd name="T51" fmla="*/ 357 h 615"/>
                    <a:gd name="T52" fmla="*/ 34 w 674"/>
                    <a:gd name="T53" fmla="*/ 406 h 615"/>
                    <a:gd name="T54" fmla="*/ 66 w 674"/>
                    <a:gd name="T55" fmla="*/ 449 h 615"/>
                    <a:gd name="T56" fmla="*/ 15 w 674"/>
                    <a:gd name="T57" fmla="*/ 597 h 615"/>
                    <a:gd name="T58" fmla="*/ 21 w 674"/>
                    <a:gd name="T59" fmla="*/ 612 h 615"/>
                    <a:gd name="T60" fmla="*/ 33 w 674"/>
                    <a:gd name="T61" fmla="*/ 615 h 615"/>
                    <a:gd name="T62" fmla="*/ 254 w 674"/>
                    <a:gd name="T63" fmla="*/ 549 h 615"/>
                    <a:gd name="T64" fmla="*/ 273 w 674"/>
                    <a:gd name="T65" fmla="*/ 522 h 615"/>
                    <a:gd name="T66" fmla="*/ 225 w 674"/>
                    <a:gd name="T67" fmla="*/ 510 h 615"/>
                    <a:gd name="T68" fmla="*/ 120 w 674"/>
                    <a:gd name="T69" fmla="*/ 467 h 615"/>
                    <a:gd name="T70" fmla="*/ 105 w 674"/>
                    <a:gd name="T71" fmla="*/ 445 h 615"/>
                    <a:gd name="T72" fmla="*/ 71 w 674"/>
                    <a:gd name="T73" fmla="*/ 407 h 615"/>
                    <a:gd name="T74" fmla="*/ 47 w 674"/>
                    <a:gd name="T75" fmla="*/ 364 h 615"/>
                    <a:gd name="T76" fmla="*/ 33 w 674"/>
                    <a:gd name="T77" fmla="*/ 315 h 615"/>
                    <a:gd name="T78" fmla="*/ 30 w 674"/>
                    <a:gd name="T79" fmla="*/ 264 h 615"/>
                    <a:gd name="T80" fmla="*/ 40 w 674"/>
                    <a:gd name="T81" fmla="*/ 215 h 615"/>
                    <a:gd name="T82" fmla="*/ 60 w 674"/>
                    <a:gd name="T83" fmla="*/ 170 h 615"/>
                    <a:gd name="T84" fmla="*/ 91 w 674"/>
                    <a:gd name="T85" fmla="*/ 129 h 615"/>
                    <a:gd name="T86" fmla="*/ 131 w 674"/>
                    <a:gd name="T87" fmla="*/ 94 h 615"/>
                    <a:gd name="T88" fmla="*/ 178 w 674"/>
                    <a:gd name="T89" fmla="*/ 65 h 615"/>
                    <a:gd name="T90" fmla="*/ 231 w 674"/>
                    <a:gd name="T91" fmla="*/ 45 h 615"/>
                    <a:gd name="T92" fmla="*/ 290 w 674"/>
                    <a:gd name="T93" fmla="*/ 32 h 615"/>
                    <a:gd name="T94" fmla="*/ 337 w 674"/>
                    <a:gd name="T95" fmla="*/ 30 h 6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674" h="615">
                      <a:moveTo>
                        <a:pt x="337" y="30"/>
                      </a:moveTo>
                      <a:lnTo>
                        <a:pt x="353" y="30"/>
                      </a:lnTo>
                      <a:lnTo>
                        <a:pt x="368" y="31"/>
                      </a:lnTo>
                      <a:lnTo>
                        <a:pt x="383" y="32"/>
                      </a:lnTo>
                      <a:lnTo>
                        <a:pt x="399" y="34"/>
                      </a:lnTo>
                      <a:lnTo>
                        <a:pt x="413" y="37"/>
                      </a:lnTo>
                      <a:lnTo>
                        <a:pt x="428" y="40"/>
                      </a:lnTo>
                      <a:lnTo>
                        <a:pt x="442" y="45"/>
                      </a:lnTo>
                      <a:lnTo>
                        <a:pt x="456" y="49"/>
                      </a:lnTo>
                      <a:lnTo>
                        <a:pt x="470" y="54"/>
                      </a:lnTo>
                      <a:lnTo>
                        <a:pt x="483" y="60"/>
                      </a:lnTo>
                      <a:lnTo>
                        <a:pt x="495" y="65"/>
                      </a:lnTo>
                      <a:lnTo>
                        <a:pt x="508" y="71"/>
                      </a:lnTo>
                      <a:lnTo>
                        <a:pt x="520" y="79"/>
                      </a:lnTo>
                      <a:lnTo>
                        <a:pt x="532" y="86"/>
                      </a:lnTo>
                      <a:lnTo>
                        <a:pt x="544" y="94"/>
                      </a:lnTo>
                      <a:lnTo>
                        <a:pt x="554" y="102"/>
                      </a:lnTo>
                      <a:lnTo>
                        <a:pt x="564" y="111"/>
                      </a:lnTo>
                      <a:lnTo>
                        <a:pt x="574" y="120"/>
                      </a:lnTo>
                      <a:lnTo>
                        <a:pt x="583" y="129"/>
                      </a:lnTo>
                      <a:lnTo>
                        <a:pt x="592" y="139"/>
                      </a:lnTo>
                      <a:lnTo>
                        <a:pt x="599" y="148"/>
                      </a:lnTo>
                      <a:lnTo>
                        <a:pt x="607" y="159"/>
                      </a:lnTo>
                      <a:lnTo>
                        <a:pt x="613" y="170"/>
                      </a:lnTo>
                      <a:lnTo>
                        <a:pt x="620" y="181"/>
                      </a:lnTo>
                      <a:lnTo>
                        <a:pt x="625" y="192"/>
                      </a:lnTo>
                      <a:lnTo>
                        <a:pt x="630" y="203"/>
                      </a:lnTo>
                      <a:lnTo>
                        <a:pt x="635" y="215"/>
                      </a:lnTo>
                      <a:lnTo>
                        <a:pt x="638" y="228"/>
                      </a:lnTo>
                      <a:lnTo>
                        <a:pt x="640" y="239"/>
                      </a:lnTo>
                      <a:lnTo>
                        <a:pt x="642" y="251"/>
                      </a:lnTo>
                      <a:lnTo>
                        <a:pt x="643" y="264"/>
                      </a:lnTo>
                      <a:lnTo>
                        <a:pt x="644" y="277"/>
                      </a:lnTo>
                      <a:lnTo>
                        <a:pt x="674" y="277"/>
                      </a:lnTo>
                      <a:lnTo>
                        <a:pt x="673" y="263"/>
                      </a:lnTo>
                      <a:lnTo>
                        <a:pt x="672" y="249"/>
                      </a:lnTo>
                      <a:lnTo>
                        <a:pt x="670" y="235"/>
                      </a:lnTo>
                      <a:lnTo>
                        <a:pt x="667" y="221"/>
                      </a:lnTo>
                      <a:lnTo>
                        <a:pt x="663" y="207"/>
                      </a:lnTo>
                      <a:lnTo>
                        <a:pt x="659" y="194"/>
                      </a:lnTo>
                      <a:lnTo>
                        <a:pt x="654" y="182"/>
                      </a:lnTo>
                      <a:lnTo>
                        <a:pt x="647" y="169"/>
                      </a:lnTo>
                      <a:lnTo>
                        <a:pt x="641" y="157"/>
                      </a:lnTo>
                      <a:lnTo>
                        <a:pt x="633" y="144"/>
                      </a:lnTo>
                      <a:lnTo>
                        <a:pt x="625" y="133"/>
                      </a:lnTo>
                      <a:lnTo>
                        <a:pt x="616" y="122"/>
                      </a:lnTo>
                      <a:lnTo>
                        <a:pt x="607" y="111"/>
                      </a:lnTo>
                      <a:lnTo>
                        <a:pt x="597" y="100"/>
                      </a:lnTo>
                      <a:lnTo>
                        <a:pt x="586" y="91"/>
                      </a:lnTo>
                      <a:lnTo>
                        <a:pt x="575" y="81"/>
                      </a:lnTo>
                      <a:lnTo>
                        <a:pt x="563" y="71"/>
                      </a:lnTo>
                      <a:lnTo>
                        <a:pt x="551" y="63"/>
                      </a:lnTo>
                      <a:lnTo>
                        <a:pt x="538" y="54"/>
                      </a:lnTo>
                      <a:lnTo>
                        <a:pt x="525" y="47"/>
                      </a:lnTo>
                      <a:lnTo>
                        <a:pt x="511" y="39"/>
                      </a:lnTo>
                      <a:lnTo>
                        <a:pt x="498" y="33"/>
                      </a:lnTo>
                      <a:lnTo>
                        <a:pt x="483" y="26"/>
                      </a:lnTo>
                      <a:lnTo>
                        <a:pt x="468" y="21"/>
                      </a:lnTo>
                      <a:lnTo>
                        <a:pt x="453" y="16"/>
                      </a:lnTo>
                      <a:lnTo>
                        <a:pt x="437" y="11"/>
                      </a:lnTo>
                      <a:lnTo>
                        <a:pt x="421" y="8"/>
                      </a:lnTo>
                      <a:lnTo>
                        <a:pt x="404" y="5"/>
                      </a:lnTo>
                      <a:lnTo>
                        <a:pt x="388" y="3"/>
                      </a:lnTo>
                      <a:lnTo>
                        <a:pt x="371" y="1"/>
                      </a:lnTo>
                      <a:lnTo>
                        <a:pt x="354" y="0"/>
                      </a:lnTo>
                      <a:lnTo>
                        <a:pt x="337" y="0"/>
                      </a:lnTo>
                      <a:lnTo>
                        <a:pt x="320" y="0"/>
                      </a:lnTo>
                      <a:lnTo>
                        <a:pt x="303" y="1"/>
                      </a:lnTo>
                      <a:lnTo>
                        <a:pt x="286" y="3"/>
                      </a:lnTo>
                      <a:lnTo>
                        <a:pt x="269" y="5"/>
                      </a:lnTo>
                      <a:lnTo>
                        <a:pt x="253" y="8"/>
                      </a:lnTo>
                      <a:lnTo>
                        <a:pt x="236" y="11"/>
                      </a:lnTo>
                      <a:lnTo>
                        <a:pt x="221" y="16"/>
                      </a:lnTo>
                      <a:lnTo>
                        <a:pt x="205" y="21"/>
                      </a:lnTo>
                      <a:lnTo>
                        <a:pt x="190" y="26"/>
                      </a:lnTo>
                      <a:lnTo>
                        <a:pt x="177" y="33"/>
                      </a:lnTo>
                      <a:lnTo>
                        <a:pt x="163" y="39"/>
                      </a:lnTo>
                      <a:lnTo>
                        <a:pt x="149" y="47"/>
                      </a:lnTo>
                      <a:lnTo>
                        <a:pt x="136" y="54"/>
                      </a:lnTo>
                      <a:lnTo>
                        <a:pt x="123" y="63"/>
                      </a:lnTo>
                      <a:lnTo>
                        <a:pt x="110" y="71"/>
                      </a:lnTo>
                      <a:lnTo>
                        <a:pt x="98" y="81"/>
                      </a:lnTo>
                      <a:lnTo>
                        <a:pt x="88" y="91"/>
                      </a:lnTo>
                      <a:lnTo>
                        <a:pt x="77" y="100"/>
                      </a:lnTo>
                      <a:lnTo>
                        <a:pt x="67" y="111"/>
                      </a:lnTo>
                      <a:lnTo>
                        <a:pt x="58" y="122"/>
                      </a:lnTo>
                      <a:lnTo>
                        <a:pt x="49" y="133"/>
                      </a:lnTo>
                      <a:lnTo>
                        <a:pt x="41" y="145"/>
                      </a:lnTo>
                      <a:lnTo>
                        <a:pt x="33" y="157"/>
                      </a:lnTo>
                      <a:lnTo>
                        <a:pt x="27" y="169"/>
                      </a:lnTo>
                      <a:lnTo>
                        <a:pt x="20" y="182"/>
                      </a:lnTo>
                      <a:lnTo>
                        <a:pt x="15" y="194"/>
                      </a:lnTo>
                      <a:lnTo>
                        <a:pt x="11" y="207"/>
                      </a:lnTo>
                      <a:lnTo>
                        <a:pt x="6" y="221"/>
                      </a:lnTo>
                      <a:lnTo>
                        <a:pt x="4" y="235"/>
                      </a:lnTo>
                      <a:lnTo>
                        <a:pt x="2" y="249"/>
                      </a:lnTo>
                      <a:lnTo>
                        <a:pt x="0" y="263"/>
                      </a:lnTo>
                      <a:lnTo>
                        <a:pt x="0" y="277"/>
                      </a:lnTo>
                      <a:lnTo>
                        <a:pt x="0" y="291"/>
                      </a:lnTo>
                      <a:lnTo>
                        <a:pt x="1" y="305"/>
                      </a:lnTo>
                      <a:lnTo>
                        <a:pt x="3" y="319"/>
                      </a:lnTo>
                      <a:lnTo>
                        <a:pt x="5" y="331"/>
                      </a:lnTo>
                      <a:lnTo>
                        <a:pt x="9" y="344"/>
                      </a:lnTo>
                      <a:lnTo>
                        <a:pt x="13" y="357"/>
                      </a:lnTo>
                      <a:lnTo>
                        <a:pt x="17" y="370"/>
                      </a:lnTo>
                      <a:lnTo>
                        <a:pt x="22" y="383"/>
                      </a:lnTo>
                      <a:lnTo>
                        <a:pt x="28" y="395"/>
                      </a:lnTo>
                      <a:lnTo>
                        <a:pt x="34" y="406"/>
                      </a:lnTo>
                      <a:lnTo>
                        <a:pt x="42" y="417"/>
                      </a:lnTo>
                      <a:lnTo>
                        <a:pt x="49" y="429"/>
                      </a:lnTo>
                      <a:lnTo>
                        <a:pt x="58" y="440"/>
                      </a:lnTo>
                      <a:lnTo>
                        <a:pt x="66" y="449"/>
                      </a:lnTo>
                      <a:lnTo>
                        <a:pt x="76" y="459"/>
                      </a:lnTo>
                      <a:lnTo>
                        <a:pt x="86" y="468"/>
                      </a:lnTo>
                      <a:lnTo>
                        <a:pt x="17" y="593"/>
                      </a:lnTo>
                      <a:lnTo>
                        <a:pt x="15" y="597"/>
                      </a:lnTo>
                      <a:lnTo>
                        <a:pt x="15" y="601"/>
                      </a:lnTo>
                      <a:lnTo>
                        <a:pt x="16" y="606"/>
                      </a:lnTo>
                      <a:lnTo>
                        <a:pt x="18" y="610"/>
                      </a:lnTo>
                      <a:lnTo>
                        <a:pt x="21" y="612"/>
                      </a:lnTo>
                      <a:lnTo>
                        <a:pt x="24" y="614"/>
                      </a:lnTo>
                      <a:lnTo>
                        <a:pt x="27" y="615"/>
                      </a:lnTo>
                      <a:lnTo>
                        <a:pt x="30" y="615"/>
                      </a:lnTo>
                      <a:lnTo>
                        <a:pt x="33" y="615"/>
                      </a:lnTo>
                      <a:lnTo>
                        <a:pt x="35" y="614"/>
                      </a:lnTo>
                      <a:lnTo>
                        <a:pt x="226" y="540"/>
                      </a:lnTo>
                      <a:lnTo>
                        <a:pt x="239" y="544"/>
                      </a:lnTo>
                      <a:lnTo>
                        <a:pt x="254" y="549"/>
                      </a:lnTo>
                      <a:lnTo>
                        <a:pt x="269" y="552"/>
                      </a:lnTo>
                      <a:lnTo>
                        <a:pt x="284" y="555"/>
                      </a:lnTo>
                      <a:lnTo>
                        <a:pt x="288" y="525"/>
                      </a:lnTo>
                      <a:lnTo>
                        <a:pt x="273" y="522"/>
                      </a:lnTo>
                      <a:lnTo>
                        <a:pt x="257" y="519"/>
                      </a:lnTo>
                      <a:lnTo>
                        <a:pt x="242" y="514"/>
                      </a:lnTo>
                      <a:lnTo>
                        <a:pt x="230" y="510"/>
                      </a:lnTo>
                      <a:lnTo>
                        <a:pt x="225" y="510"/>
                      </a:lnTo>
                      <a:lnTo>
                        <a:pt x="219" y="511"/>
                      </a:lnTo>
                      <a:lnTo>
                        <a:pt x="63" y="571"/>
                      </a:lnTo>
                      <a:lnTo>
                        <a:pt x="119" y="472"/>
                      </a:lnTo>
                      <a:lnTo>
                        <a:pt x="120" y="467"/>
                      </a:lnTo>
                      <a:lnTo>
                        <a:pt x="120" y="462"/>
                      </a:lnTo>
                      <a:lnTo>
                        <a:pt x="118" y="457"/>
                      </a:lnTo>
                      <a:lnTo>
                        <a:pt x="114" y="453"/>
                      </a:lnTo>
                      <a:lnTo>
                        <a:pt x="105" y="445"/>
                      </a:lnTo>
                      <a:lnTo>
                        <a:pt x="95" y="436"/>
                      </a:lnTo>
                      <a:lnTo>
                        <a:pt x="87" y="427"/>
                      </a:lnTo>
                      <a:lnTo>
                        <a:pt x="78" y="417"/>
                      </a:lnTo>
                      <a:lnTo>
                        <a:pt x="71" y="407"/>
                      </a:lnTo>
                      <a:lnTo>
                        <a:pt x="64" y="397"/>
                      </a:lnTo>
                      <a:lnTo>
                        <a:pt x="58" y="386"/>
                      </a:lnTo>
                      <a:lnTo>
                        <a:pt x="51" y="375"/>
                      </a:lnTo>
                      <a:lnTo>
                        <a:pt x="47" y="364"/>
                      </a:lnTo>
                      <a:lnTo>
                        <a:pt x="43" y="352"/>
                      </a:lnTo>
                      <a:lnTo>
                        <a:pt x="39" y="340"/>
                      </a:lnTo>
                      <a:lnTo>
                        <a:pt x="35" y="328"/>
                      </a:lnTo>
                      <a:lnTo>
                        <a:pt x="33" y="315"/>
                      </a:lnTo>
                      <a:lnTo>
                        <a:pt x="31" y="303"/>
                      </a:lnTo>
                      <a:lnTo>
                        <a:pt x="30" y="290"/>
                      </a:lnTo>
                      <a:lnTo>
                        <a:pt x="30" y="277"/>
                      </a:lnTo>
                      <a:lnTo>
                        <a:pt x="30" y="264"/>
                      </a:lnTo>
                      <a:lnTo>
                        <a:pt x="32" y="251"/>
                      </a:lnTo>
                      <a:lnTo>
                        <a:pt x="33" y="239"/>
                      </a:lnTo>
                      <a:lnTo>
                        <a:pt x="36" y="227"/>
                      </a:lnTo>
                      <a:lnTo>
                        <a:pt x="40" y="215"/>
                      </a:lnTo>
                      <a:lnTo>
                        <a:pt x="44" y="203"/>
                      </a:lnTo>
                      <a:lnTo>
                        <a:pt x="48" y="192"/>
                      </a:lnTo>
                      <a:lnTo>
                        <a:pt x="55" y="181"/>
                      </a:lnTo>
                      <a:lnTo>
                        <a:pt x="60" y="170"/>
                      </a:lnTo>
                      <a:lnTo>
                        <a:pt x="67" y="159"/>
                      </a:lnTo>
                      <a:lnTo>
                        <a:pt x="75" y="148"/>
                      </a:lnTo>
                      <a:lnTo>
                        <a:pt x="82" y="139"/>
                      </a:lnTo>
                      <a:lnTo>
                        <a:pt x="91" y="129"/>
                      </a:lnTo>
                      <a:lnTo>
                        <a:pt x="101" y="120"/>
                      </a:lnTo>
                      <a:lnTo>
                        <a:pt x="110" y="111"/>
                      </a:lnTo>
                      <a:lnTo>
                        <a:pt x="120" y="102"/>
                      </a:lnTo>
                      <a:lnTo>
                        <a:pt x="131" y="94"/>
                      </a:lnTo>
                      <a:lnTo>
                        <a:pt x="142" y="86"/>
                      </a:lnTo>
                      <a:lnTo>
                        <a:pt x="153" y="79"/>
                      </a:lnTo>
                      <a:lnTo>
                        <a:pt x="166" y="71"/>
                      </a:lnTo>
                      <a:lnTo>
                        <a:pt x="178" y="65"/>
                      </a:lnTo>
                      <a:lnTo>
                        <a:pt x="190" y="60"/>
                      </a:lnTo>
                      <a:lnTo>
                        <a:pt x="204" y="54"/>
                      </a:lnTo>
                      <a:lnTo>
                        <a:pt x="217" y="49"/>
                      </a:lnTo>
                      <a:lnTo>
                        <a:pt x="231" y="45"/>
                      </a:lnTo>
                      <a:lnTo>
                        <a:pt x="246" y="40"/>
                      </a:lnTo>
                      <a:lnTo>
                        <a:pt x="260" y="37"/>
                      </a:lnTo>
                      <a:lnTo>
                        <a:pt x="275" y="34"/>
                      </a:lnTo>
                      <a:lnTo>
                        <a:pt x="290" y="32"/>
                      </a:lnTo>
                      <a:lnTo>
                        <a:pt x="306" y="31"/>
                      </a:lnTo>
                      <a:lnTo>
                        <a:pt x="321" y="30"/>
                      </a:lnTo>
                      <a:lnTo>
                        <a:pt x="337" y="30"/>
                      </a:lnTo>
                      <a:lnTo>
                        <a:pt x="337" y="3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  <p:sp>
              <p:nvSpPr>
                <p:cNvPr id="37" name="iṧlîḋe">
                  <a:extLst>
                    <a:ext uri="{FF2B5EF4-FFF2-40B4-BE49-F238E27FC236}">
                      <a16:creationId xmlns:a16="http://schemas.microsoft.com/office/drawing/2014/main" id="{AF77289A-4272-4D5B-8AFB-D0C923EFF3AD}"/>
                    </a:ext>
                  </a:extLst>
                </p:cNvPr>
                <p:cNvSpPr/>
                <p:nvPr/>
              </p:nvSpPr>
              <p:spPr bwMode="auto">
                <a:xfrm>
                  <a:off x="422275" y="2620963"/>
                  <a:ext cx="177800" cy="168275"/>
                </a:xfrm>
                <a:custGeom>
                  <a:avLst/>
                  <a:gdLst>
                    <a:gd name="T0" fmla="*/ 377 w 560"/>
                    <a:gd name="T1" fmla="*/ 437 h 527"/>
                    <a:gd name="T2" fmla="*/ 336 w 560"/>
                    <a:gd name="T3" fmla="*/ 451 h 527"/>
                    <a:gd name="T4" fmla="*/ 285 w 560"/>
                    <a:gd name="T5" fmla="*/ 459 h 527"/>
                    <a:gd name="T6" fmla="*/ 248 w 560"/>
                    <a:gd name="T7" fmla="*/ 458 h 527"/>
                    <a:gd name="T8" fmla="*/ 179 w 560"/>
                    <a:gd name="T9" fmla="*/ 442 h 527"/>
                    <a:gd name="T10" fmla="*/ 102 w 560"/>
                    <a:gd name="T11" fmla="*/ 395 h 527"/>
                    <a:gd name="T12" fmla="*/ 59 w 560"/>
                    <a:gd name="T13" fmla="*/ 345 h 527"/>
                    <a:gd name="T14" fmla="*/ 41 w 560"/>
                    <a:gd name="T15" fmla="*/ 306 h 527"/>
                    <a:gd name="T16" fmla="*/ 31 w 560"/>
                    <a:gd name="T17" fmla="*/ 265 h 527"/>
                    <a:gd name="T18" fmla="*/ 31 w 560"/>
                    <a:gd name="T19" fmla="*/ 221 h 527"/>
                    <a:gd name="T20" fmla="*/ 41 w 560"/>
                    <a:gd name="T21" fmla="*/ 180 h 527"/>
                    <a:gd name="T22" fmla="*/ 60 w 560"/>
                    <a:gd name="T23" fmla="*/ 143 h 527"/>
                    <a:gd name="T24" fmla="*/ 104 w 560"/>
                    <a:gd name="T25" fmla="*/ 93 h 527"/>
                    <a:gd name="T26" fmla="*/ 183 w 560"/>
                    <a:gd name="T27" fmla="*/ 47 h 527"/>
                    <a:gd name="T28" fmla="*/ 255 w 560"/>
                    <a:gd name="T29" fmla="*/ 31 h 527"/>
                    <a:gd name="T30" fmla="*/ 305 w 560"/>
                    <a:gd name="T31" fmla="*/ 31 h 527"/>
                    <a:gd name="T32" fmla="*/ 376 w 560"/>
                    <a:gd name="T33" fmla="*/ 47 h 527"/>
                    <a:gd name="T34" fmla="*/ 456 w 560"/>
                    <a:gd name="T35" fmla="*/ 93 h 527"/>
                    <a:gd name="T36" fmla="*/ 499 w 560"/>
                    <a:gd name="T37" fmla="*/ 143 h 527"/>
                    <a:gd name="T38" fmla="*/ 518 w 560"/>
                    <a:gd name="T39" fmla="*/ 180 h 527"/>
                    <a:gd name="T40" fmla="*/ 529 w 560"/>
                    <a:gd name="T41" fmla="*/ 221 h 527"/>
                    <a:gd name="T42" fmla="*/ 529 w 560"/>
                    <a:gd name="T43" fmla="*/ 262 h 527"/>
                    <a:gd name="T44" fmla="*/ 520 w 560"/>
                    <a:gd name="T45" fmla="*/ 301 h 527"/>
                    <a:gd name="T46" fmla="*/ 502 w 560"/>
                    <a:gd name="T47" fmla="*/ 336 h 527"/>
                    <a:gd name="T48" fmla="*/ 476 w 560"/>
                    <a:gd name="T49" fmla="*/ 367 h 527"/>
                    <a:gd name="T50" fmla="*/ 455 w 560"/>
                    <a:gd name="T51" fmla="*/ 391 h 527"/>
                    <a:gd name="T52" fmla="*/ 386 w 560"/>
                    <a:gd name="T53" fmla="*/ 437 h 527"/>
                    <a:gd name="T54" fmla="*/ 512 w 560"/>
                    <a:gd name="T55" fmla="*/ 373 h 527"/>
                    <a:gd name="T56" fmla="*/ 536 w 560"/>
                    <a:gd name="T57" fmla="*/ 336 h 527"/>
                    <a:gd name="T58" fmla="*/ 552 w 560"/>
                    <a:gd name="T59" fmla="*/ 297 h 527"/>
                    <a:gd name="T60" fmla="*/ 560 w 560"/>
                    <a:gd name="T61" fmla="*/ 254 h 527"/>
                    <a:gd name="T62" fmla="*/ 557 w 560"/>
                    <a:gd name="T63" fmla="*/ 206 h 527"/>
                    <a:gd name="T64" fmla="*/ 543 w 560"/>
                    <a:gd name="T65" fmla="*/ 160 h 527"/>
                    <a:gd name="T66" fmla="*/ 519 w 560"/>
                    <a:gd name="T67" fmla="*/ 118 h 527"/>
                    <a:gd name="T68" fmla="*/ 486 w 560"/>
                    <a:gd name="T69" fmla="*/ 81 h 527"/>
                    <a:gd name="T70" fmla="*/ 447 w 560"/>
                    <a:gd name="T71" fmla="*/ 48 h 527"/>
                    <a:gd name="T72" fmla="*/ 401 w 560"/>
                    <a:gd name="T73" fmla="*/ 24 h 527"/>
                    <a:gd name="T74" fmla="*/ 349 w 560"/>
                    <a:gd name="T75" fmla="*/ 8 h 527"/>
                    <a:gd name="T76" fmla="*/ 295 w 560"/>
                    <a:gd name="T77" fmla="*/ 0 h 527"/>
                    <a:gd name="T78" fmla="*/ 238 w 560"/>
                    <a:gd name="T79" fmla="*/ 2 h 527"/>
                    <a:gd name="T80" fmla="*/ 184 w 560"/>
                    <a:gd name="T81" fmla="*/ 15 h 527"/>
                    <a:gd name="T82" fmla="*/ 136 w 560"/>
                    <a:gd name="T83" fmla="*/ 36 h 527"/>
                    <a:gd name="T84" fmla="*/ 92 w 560"/>
                    <a:gd name="T85" fmla="*/ 63 h 527"/>
                    <a:gd name="T86" fmla="*/ 56 w 560"/>
                    <a:gd name="T87" fmla="*/ 99 h 527"/>
                    <a:gd name="T88" fmla="*/ 28 w 560"/>
                    <a:gd name="T89" fmla="*/ 138 h 527"/>
                    <a:gd name="T90" fmla="*/ 9 w 560"/>
                    <a:gd name="T91" fmla="*/ 182 h 527"/>
                    <a:gd name="T92" fmla="*/ 0 w 560"/>
                    <a:gd name="T93" fmla="*/ 230 h 527"/>
                    <a:gd name="T94" fmla="*/ 4 w 560"/>
                    <a:gd name="T95" fmla="*/ 280 h 527"/>
                    <a:gd name="T96" fmla="*/ 16 w 560"/>
                    <a:gd name="T97" fmla="*/ 327 h 527"/>
                    <a:gd name="T98" fmla="*/ 40 w 560"/>
                    <a:gd name="T99" fmla="*/ 369 h 527"/>
                    <a:gd name="T100" fmla="*/ 72 w 560"/>
                    <a:gd name="T101" fmla="*/ 407 h 527"/>
                    <a:gd name="T102" fmla="*/ 111 w 560"/>
                    <a:gd name="T103" fmla="*/ 439 h 527"/>
                    <a:gd name="T104" fmla="*/ 155 w 560"/>
                    <a:gd name="T105" fmla="*/ 465 h 527"/>
                    <a:gd name="T106" fmla="*/ 205 w 560"/>
                    <a:gd name="T107" fmla="*/ 482 h 527"/>
                    <a:gd name="T108" fmla="*/ 258 w 560"/>
                    <a:gd name="T109" fmla="*/ 489 h 527"/>
                    <a:gd name="T110" fmla="*/ 300 w 560"/>
                    <a:gd name="T111" fmla="*/ 488 h 527"/>
                    <a:gd name="T112" fmla="*/ 353 w 560"/>
                    <a:gd name="T113" fmla="*/ 478 h 527"/>
                    <a:gd name="T114" fmla="*/ 527 w 560"/>
                    <a:gd name="T115" fmla="*/ 526 h 527"/>
                    <a:gd name="T116" fmla="*/ 539 w 560"/>
                    <a:gd name="T117" fmla="*/ 524 h 527"/>
                    <a:gd name="T118" fmla="*/ 545 w 560"/>
                    <a:gd name="T119" fmla="*/ 509 h 5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60" h="527">
                      <a:moveTo>
                        <a:pt x="386" y="437"/>
                      </a:moveTo>
                      <a:lnTo>
                        <a:pt x="382" y="437"/>
                      </a:lnTo>
                      <a:lnTo>
                        <a:pt x="380" y="436"/>
                      </a:lnTo>
                      <a:lnTo>
                        <a:pt x="377" y="437"/>
                      </a:lnTo>
                      <a:lnTo>
                        <a:pt x="374" y="438"/>
                      </a:lnTo>
                      <a:lnTo>
                        <a:pt x="362" y="442"/>
                      </a:lnTo>
                      <a:lnTo>
                        <a:pt x="349" y="447"/>
                      </a:lnTo>
                      <a:lnTo>
                        <a:pt x="336" y="451"/>
                      </a:lnTo>
                      <a:lnTo>
                        <a:pt x="323" y="454"/>
                      </a:lnTo>
                      <a:lnTo>
                        <a:pt x="311" y="456"/>
                      </a:lnTo>
                      <a:lnTo>
                        <a:pt x="298" y="458"/>
                      </a:lnTo>
                      <a:lnTo>
                        <a:pt x="285" y="459"/>
                      </a:lnTo>
                      <a:lnTo>
                        <a:pt x="272" y="459"/>
                      </a:lnTo>
                      <a:lnTo>
                        <a:pt x="272" y="459"/>
                      </a:lnTo>
                      <a:lnTo>
                        <a:pt x="259" y="459"/>
                      </a:lnTo>
                      <a:lnTo>
                        <a:pt x="248" y="458"/>
                      </a:lnTo>
                      <a:lnTo>
                        <a:pt x="236" y="457"/>
                      </a:lnTo>
                      <a:lnTo>
                        <a:pt x="224" y="455"/>
                      </a:lnTo>
                      <a:lnTo>
                        <a:pt x="200" y="450"/>
                      </a:lnTo>
                      <a:lnTo>
                        <a:pt x="179" y="442"/>
                      </a:lnTo>
                      <a:lnTo>
                        <a:pt x="158" y="433"/>
                      </a:lnTo>
                      <a:lnTo>
                        <a:pt x="137" y="422"/>
                      </a:lnTo>
                      <a:lnTo>
                        <a:pt x="119" y="409"/>
                      </a:lnTo>
                      <a:lnTo>
                        <a:pt x="102" y="395"/>
                      </a:lnTo>
                      <a:lnTo>
                        <a:pt x="86" y="379"/>
                      </a:lnTo>
                      <a:lnTo>
                        <a:pt x="72" y="363"/>
                      </a:lnTo>
                      <a:lnTo>
                        <a:pt x="66" y="353"/>
                      </a:lnTo>
                      <a:lnTo>
                        <a:pt x="59" y="345"/>
                      </a:lnTo>
                      <a:lnTo>
                        <a:pt x="54" y="335"/>
                      </a:lnTo>
                      <a:lnTo>
                        <a:pt x="50" y="326"/>
                      </a:lnTo>
                      <a:lnTo>
                        <a:pt x="45" y="316"/>
                      </a:lnTo>
                      <a:lnTo>
                        <a:pt x="41" y="306"/>
                      </a:lnTo>
                      <a:lnTo>
                        <a:pt x="38" y="296"/>
                      </a:lnTo>
                      <a:lnTo>
                        <a:pt x="35" y="285"/>
                      </a:lnTo>
                      <a:lnTo>
                        <a:pt x="32" y="275"/>
                      </a:lnTo>
                      <a:lnTo>
                        <a:pt x="31" y="265"/>
                      </a:lnTo>
                      <a:lnTo>
                        <a:pt x="30" y="254"/>
                      </a:lnTo>
                      <a:lnTo>
                        <a:pt x="30" y="242"/>
                      </a:lnTo>
                      <a:lnTo>
                        <a:pt x="30" y="231"/>
                      </a:lnTo>
                      <a:lnTo>
                        <a:pt x="31" y="221"/>
                      </a:lnTo>
                      <a:lnTo>
                        <a:pt x="32" y="211"/>
                      </a:lnTo>
                      <a:lnTo>
                        <a:pt x="35" y="200"/>
                      </a:lnTo>
                      <a:lnTo>
                        <a:pt x="38" y="190"/>
                      </a:lnTo>
                      <a:lnTo>
                        <a:pt x="41" y="180"/>
                      </a:lnTo>
                      <a:lnTo>
                        <a:pt x="45" y="170"/>
                      </a:lnTo>
                      <a:lnTo>
                        <a:pt x="50" y="161"/>
                      </a:lnTo>
                      <a:lnTo>
                        <a:pt x="55" y="151"/>
                      </a:lnTo>
                      <a:lnTo>
                        <a:pt x="60" y="143"/>
                      </a:lnTo>
                      <a:lnTo>
                        <a:pt x="67" y="133"/>
                      </a:lnTo>
                      <a:lnTo>
                        <a:pt x="73" y="124"/>
                      </a:lnTo>
                      <a:lnTo>
                        <a:pt x="88" y="108"/>
                      </a:lnTo>
                      <a:lnTo>
                        <a:pt x="104" y="93"/>
                      </a:lnTo>
                      <a:lnTo>
                        <a:pt x="122" y="79"/>
                      </a:lnTo>
                      <a:lnTo>
                        <a:pt x="142" y="67"/>
                      </a:lnTo>
                      <a:lnTo>
                        <a:pt x="162" y="56"/>
                      </a:lnTo>
                      <a:lnTo>
                        <a:pt x="183" y="47"/>
                      </a:lnTo>
                      <a:lnTo>
                        <a:pt x="207" y="40"/>
                      </a:lnTo>
                      <a:lnTo>
                        <a:pt x="230" y="35"/>
                      </a:lnTo>
                      <a:lnTo>
                        <a:pt x="242" y="32"/>
                      </a:lnTo>
                      <a:lnTo>
                        <a:pt x="255" y="31"/>
                      </a:lnTo>
                      <a:lnTo>
                        <a:pt x="267" y="30"/>
                      </a:lnTo>
                      <a:lnTo>
                        <a:pt x="280" y="30"/>
                      </a:lnTo>
                      <a:lnTo>
                        <a:pt x="292" y="30"/>
                      </a:lnTo>
                      <a:lnTo>
                        <a:pt x="305" y="31"/>
                      </a:lnTo>
                      <a:lnTo>
                        <a:pt x="317" y="32"/>
                      </a:lnTo>
                      <a:lnTo>
                        <a:pt x="330" y="35"/>
                      </a:lnTo>
                      <a:lnTo>
                        <a:pt x="353" y="40"/>
                      </a:lnTo>
                      <a:lnTo>
                        <a:pt x="376" y="47"/>
                      </a:lnTo>
                      <a:lnTo>
                        <a:pt x="398" y="56"/>
                      </a:lnTo>
                      <a:lnTo>
                        <a:pt x="419" y="67"/>
                      </a:lnTo>
                      <a:lnTo>
                        <a:pt x="438" y="79"/>
                      </a:lnTo>
                      <a:lnTo>
                        <a:pt x="456" y="93"/>
                      </a:lnTo>
                      <a:lnTo>
                        <a:pt x="472" y="108"/>
                      </a:lnTo>
                      <a:lnTo>
                        <a:pt x="486" y="124"/>
                      </a:lnTo>
                      <a:lnTo>
                        <a:pt x="494" y="133"/>
                      </a:lnTo>
                      <a:lnTo>
                        <a:pt x="499" y="143"/>
                      </a:lnTo>
                      <a:lnTo>
                        <a:pt x="505" y="151"/>
                      </a:lnTo>
                      <a:lnTo>
                        <a:pt x="510" y="161"/>
                      </a:lnTo>
                      <a:lnTo>
                        <a:pt x="515" y="170"/>
                      </a:lnTo>
                      <a:lnTo>
                        <a:pt x="518" y="180"/>
                      </a:lnTo>
                      <a:lnTo>
                        <a:pt x="521" y="190"/>
                      </a:lnTo>
                      <a:lnTo>
                        <a:pt x="525" y="200"/>
                      </a:lnTo>
                      <a:lnTo>
                        <a:pt x="527" y="211"/>
                      </a:lnTo>
                      <a:lnTo>
                        <a:pt x="529" y="221"/>
                      </a:lnTo>
                      <a:lnTo>
                        <a:pt x="530" y="231"/>
                      </a:lnTo>
                      <a:lnTo>
                        <a:pt x="530" y="242"/>
                      </a:lnTo>
                      <a:lnTo>
                        <a:pt x="530" y="253"/>
                      </a:lnTo>
                      <a:lnTo>
                        <a:pt x="529" y="262"/>
                      </a:lnTo>
                      <a:lnTo>
                        <a:pt x="528" y="272"/>
                      </a:lnTo>
                      <a:lnTo>
                        <a:pt x="526" y="282"/>
                      </a:lnTo>
                      <a:lnTo>
                        <a:pt x="522" y="291"/>
                      </a:lnTo>
                      <a:lnTo>
                        <a:pt x="520" y="301"/>
                      </a:lnTo>
                      <a:lnTo>
                        <a:pt x="516" y="311"/>
                      </a:lnTo>
                      <a:lnTo>
                        <a:pt x="512" y="319"/>
                      </a:lnTo>
                      <a:lnTo>
                        <a:pt x="508" y="328"/>
                      </a:lnTo>
                      <a:lnTo>
                        <a:pt x="502" y="336"/>
                      </a:lnTo>
                      <a:lnTo>
                        <a:pt x="497" y="345"/>
                      </a:lnTo>
                      <a:lnTo>
                        <a:pt x="490" y="352"/>
                      </a:lnTo>
                      <a:lnTo>
                        <a:pt x="483" y="360"/>
                      </a:lnTo>
                      <a:lnTo>
                        <a:pt x="476" y="367"/>
                      </a:lnTo>
                      <a:lnTo>
                        <a:pt x="468" y="375"/>
                      </a:lnTo>
                      <a:lnTo>
                        <a:pt x="459" y="382"/>
                      </a:lnTo>
                      <a:lnTo>
                        <a:pt x="456" y="386"/>
                      </a:lnTo>
                      <a:lnTo>
                        <a:pt x="455" y="391"/>
                      </a:lnTo>
                      <a:lnTo>
                        <a:pt x="454" y="396"/>
                      </a:lnTo>
                      <a:lnTo>
                        <a:pt x="456" y="400"/>
                      </a:lnTo>
                      <a:lnTo>
                        <a:pt x="498" y="483"/>
                      </a:lnTo>
                      <a:lnTo>
                        <a:pt x="386" y="437"/>
                      </a:lnTo>
                      <a:close/>
                      <a:moveTo>
                        <a:pt x="488" y="397"/>
                      </a:moveTo>
                      <a:lnTo>
                        <a:pt x="497" y="390"/>
                      </a:lnTo>
                      <a:lnTo>
                        <a:pt x="504" y="381"/>
                      </a:lnTo>
                      <a:lnTo>
                        <a:pt x="512" y="373"/>
                      </a:lnTo>
                      <a:lnTo>
                        <a:pt x="519" y="364"/>
                      </a:lnTo>
                      <a:lnTo>
                        <a:pt x="526" y="356"/>
                      </a:lnTo>
                      <a:lnTo>
                        <a:pt x="531" y="346"/>
                      </a:lnTo>
                      <a:lnTo>
                        <a:pt x="536" y="336"/>
                      </a:lnTo>
                      <a:lnTo>
                        <a:pt x="542" y="327"/>
                      </a:lnTo>
                      <a:lnTo>
                        <a:pt x="546" y="317"/>
                      </a:lnTo>
                      <a:lnTo>
                        <a:pt x="549" y="307"/>
                      </a:lnTo>
                      <a:lnTo>
                        <a:pt x="552" y="297"/>
                      </a:lnTo>
                      <a:lnTo>
                        <a:pt x="556" y="286"/>
                      </a:lnTo>
                      <a:lnTo>
                        <a:pt x="558" y="275"/>
                      </a:lnTo>
                      <a:lnTo>
                        <a:pt x="559" y="265"/>
                      </a:lnTo>
                      <a:lnTo>
                        <a:pt x="560" y="254"/>
                      </a:lnTo>
                      <a:lnTo>
                        <a:pt x="560" y="242"/>
                      </a:lnTo>
                      <a:lnTo>
                        <a:pt x="560" y="230"/>
                      </a:lnTo>
                      <a:lnTo>
                        <a:pt x="559" y="218"/>
                      </a:lnTo>
                      <a:lnTo>
                        <a:pt x="557" y="206"/>
                      </a:lnTo>
                      <a:lnTo>
                        <a:pt x="555" y="194"/>
                      </a:lnTo>
                      <a:lnTo>
                        <a:pt x="551" y="182"/>
                      </a:lnTo>
                      <a:lnTo>
                        <a:pt x="547" y="171"/>
                      </a:lnTo>
                      <a:lnTo>
                        <a:pt x="543" y="160"/>
                      </a:lnTo>
                      <a:lnTo>
                        <a:pt x="537" y="149"/>
                      </a:lnTo>
                      <a:lnTo>
                        <a:pt x="532" y="138"/>
                      </a:lnTo>
                      <a:lnTo>
                        <a:pt x="526" y="128"/>
                      </a:lnTo>
                      <a:lnTo>
                        <a:pt x="519" y="118"/>
                      </a:lnTo>
                      <a:lnTo>
                        <a:pt x="512" y="108"/>
                      </a:lnTo>
                      <a:lnTo>
                        <a:pt x="503" y="99"/>
                      </a:lnTo>
                      <a:lnTo>
                        <a:pt x="495" y="89"/>
                      </a:lnTo>
                      <a:lnTo>
                        <a:pt x="486" y="81"/>
                      </a:lnTo>
                      <a:lnTo>
                        <a:pt x="476" y="72"/>
                      </a:lnTo>
                      <a:lnTo>
                        <a:pt x="467" y="63"/>
                      </a:lnTo>
                      <a:lnTo>
                        <a:pt x="457" y="56"/>
                      </a:lnTo>
                      <a:lnTo>
                        <a:pt x="447" y="48"/>
                      </a:lnTo>
                      <a:lnTo>
                        <a:pt x="435" y="42"/>
                      </a:lnTo>
                      <a:lnTo>
                        <a:pt x="424" y="36"/>
                      </a:lnTo>
                      <a:lnTo>
                        <a:pt x="412" y="30"/>
                      </a:lnTo>
                      <a:lnTo>
                        <a:pt x="401" y="24"/>
                      </a:lnTo>
                      <a:lnTo>
                        <a:pt x="388" y="20"/>
                      </a:lnTo>
                      <a:lnTo>
                        <a:pt x="375" y="15"/>
                      </a:lnTo>
                      <a:lnTo>
                        <a:pt x="362" y="11"/>
                      </a:lnTo>
                      <a:lnTo>
                        <a:pt x="349" y="8"/>
                      </a:lnTo>
                      <a:lnTo>
                        <a:pt x="335" y="5"/>
                      </a:lnTo>
                      <a:lnTo>
                        <a:pt x="322" y="2"/>
                      </a:lnTo>
                      <a:lnTo>
                        <a:pt x="308" y="1"/>
                      </a:lnTo>
                      <a:lnTo>
                        <a:pt x="295" y="0"/>
                      </a:lnTo>
                      <a:lnTo>
                        <a:pt x="280" y="0"/>
                      </a:lnTo>
                      <a:lnTo>
                        <a:pt x="266" y="0"/>
                      </a:lnTo>
                      <a:lnTo>
                        <a:pt x="252" y="1"/>
                      </a:lnTo>
                      <a:lnTo>
                        <a:pt x="238" y="2"/>
                      </a:lnTo>
                      <a:lnTo>
                        <a:pt x="224" y="5"/>
                      </a:lnTo>
                      <a:lnTo>
                        <a:pt x="211" y="8"/>
                      </a:lnTo>
                      <a:lnTo>
                        <a:pt x="197" y="11"/>
                      </a:lnTo>
                      <a:lnTo>
                        <a:pt x="184" y="15"/>
                      </a:lnTo>
                      <a:lnTo>
                        <a:pt x="173" y="20"/>
                      </a:lnTo>
                      <a:lnTo>
                        <a:pt x="160" y="24"/>
                      </a:lnTo>
                      <a:lnTo>
                        <a:pt x="148" y="30"/>
                      </a:lnTo>
                      <a:lnTo>
                        <a:pt x="136" y="36"/>
                      </a:lnTo>
                      <a:lnTo>
                        <a:pt x="124" y="42"/>
                      </a:lnTo>
                      <a:lnTo>
                        <a:pt x="114" y="48"/>
                      </a:lnTo>
                      <a:lnTo>
                        <a:pt x="103" y="56"/>
                      </a:lnTo>
                      <a:lnTo>
                        <a:pt x="92" y="63"/>
                      </a:lnTo>
                      <a:lnTo>
                        <a:pt x="83" y="72"/>
                      </a:lnTo>
                      <a:lnTo>
                        <a:pt x="73" y="81"/>
                      </a:lnTo>
                      <a:lnTo>
                        <a:pt x="65" y="89"/>
                      </a:lnTo>
                      <a:lnTo>
                        <a:pt x="56" y="99"/>
                      </a:lnTo>
                      <a:lnTo>
                        <a:pt x="48" y="108"/>
                      </a:lnTo>
                      <a:lnTo>
                        <a:pt x="41" y="118"/>
                      </a:lnTo>
                      <a:lnTo>
                        <a:pt x="35" y="128"/>
                      </a:lnTo>
                      <a:lnTo>
                        <a:pt x="28" y="138"/>
                      </a:lnTo>
                      <a:lnTo>
                        <a:pt x="22" y="149"/>
                      </a:lnTo>
                      <a:lnTo>
                        <a:pt x="17" y="160"/>
                      </a:lnTo>
                      <a:lnTo>
                        <a:pt x="13" y="171"/>
                      </a:lnTo>
                      <a:lnTo>
                        <a:pt x="9" y="182"/>
                      </a:lnTo>
                      <a:lnTo>
                        <a:pt x="6" y="194"/>
                      </a:lnTo>
                      <a:lnTo>
                        <a:pt x="4" y="206"/>
                      </a:lnTo>
                      <a:lnTo>
                        <a:pt x="1" y="218"/>
                      </a:lnTo>
                      <a:lnTo>
                        <a:pt x="0" y="230"/>
                      </a:lnTo>
                      <a:lnTo>
                        <a:pt x="0" y="242"/>
                      </a:lnTo>
                      <a:lnTo>
                        <a:pt x="0" y="255"/>
                      </a:lnTo>
                      <a:lnTo>
                        <a:pt x="1" y="267"/>
                      </a:lnTo>
                      <a:lnTo>
                        <a:pt x="4" y="280"/>
                      </a:lnTo>
                      <a:lnTo>
                        <a:pt x="6" y="291"/>
                      </a:lnTo>
                      <a:lnTo>
                        <a:pt x="9" y="303"/>
                      </a:lnTo>
                      <a:lnTo>
                        <a:pt x="12" y="315"/>
                      </a:lnTo>
                      <a:lnTo>
                        <a:pt x="16" y="327"/>
                      </a:lnTo>
                      <a:lnTo>
                        <a:pt x="22" y="337"/>
                      </a:lnTo>
                      <a:lnTo>
                        <a:pt x="27" y="348"/>
                      </a:lnTo>
                      <a:lnTo>
                        <a:pt x="34" y="359"/>
                      </a:lnTo>
                      <a:lnTo>
                        <a:pt x="40" y="369"/>
                      </a:lnTo>
                      <a:lnTo>
                        <a:pt x="47" y="379"/>
                      </a:lnTo>
                      <a:lnTo>
                        <a:pt x="55" y="389"/>
                      </a:lnTo>
                      <a:lnTo>
                        <a:pt x="62" y="398"/>
                      </a:lnTo>
                      <a:lnTo>
                        <a:pt x="72" y="407"/>
                      </a:lnTo>
                      <a:lnTo>
                        <a:pt x="81" y="417"/>
                      </a:lnTo>
                      <a:lnTo>
                        <a:pt x="90" y="424"/>
                      </a:lnTo>
                      <a:lnTo>
                        <a:pt x="100" y="433"/>
                      </a:lnTo>
                      <a:lnTo>
                        <a:pt x="111" y="439"/>
                      </a:lnTo>
                      <a:lnTo>
                        <a:pt x="121" y="447"/>
                      </a:lnTo>
                      <a:lnTo>
                        <a:pt x="132" y="453"/>
                      </a:lnTo>
                      <a:lnTo>
                        <a:pt x="144" y="459"/>
                      </a:lnTo>
                      <a:lnTo>
                        <a:pt x="155" y="465"/>
                      </a:lnTo>
                      <a:lnTo>
                        <a:pt x="167" y="470"/>
                      </a:lnTo>
                      <a:lnTo>
                        <a:pt x="179" y="474"/>
                      </a:lnTo>
                      <a:lnTo>
                        <a:pt x="192" y="478"/>
                      </a:lnTo>
                      <a:lnTo>
                        <a:pt x="205" y="482"/>
                      </a:lnTo>
                      <a:lnTo>
                        <a:pt x="218" y="484"/>
                      </a:lnTo>
                      <a:lnTo>
                        <a:pt x="231" y="486"/>
                      </a:lnTo>
                      <a:lnTo>
                        <a:pt x="244" y="488"/>
                      </a:lnTo>
                      <a:lnTo>
                        <a:pt x="258" y="489"/>
                      </a:lnTo>
                      <a:lnTo>
                        <a:pt x="272" y="489"/>
                      </a:lnTo>
                      <a:lnTo>
                        <a:pt x="272" y="489"/>
                      </a:lnTo>
                      <a:lnTo>
                        <a:pt x="286" y="489"/>
                      </a:lnTo>
                      <a:lnTo>
                        <a:pt x="300" y="488"/>
                      </a:lnTo>
                      <a:lnTo>
                        <a:pt x="314" y="486"/>
                      </a:lnTo>
                      <a:lnTo>
                        <a:pt x="327" y="484"/>
                      </a:lnTo>
                      <a:lnTo>
                        <a:pt x="341" y="481"/>
                      </a:lnTo>
                      <a:lnTo>
                        <a:pt x="353" y="478"/>
                      </a:lnTo>
                      <a:lnTo>
                        <a:pt x="367" y="472"/>
                      </a:lnTo>
                      <a:lnTo>
                        <a:pt x="380" y="468"/>
                      </a:lnTo>
                      <a:lnTo>
                        <a:pt x="525" y="526"/>
                      </a:lnTo>
                      <a:lnTo>
                        <a:pt x="527" y="526"/>
                      </a:lnTo>
                      <a:lnTo>
                        <a:pt x="530" y="527"/>
                      </a:lnTo>
                      <a:lnTo>
                        <a:pt x="533" y="526"/>
                      </a:lnTo>
                      <a:lnTo>
                        <a:pt x="536" y="525"/>
                      </a:lnTo>
                      <a:lnTo>
                        <a:pt x="539" y="524"/>
                      </a:lnTo>
                      <a:lnTo>
                        <a:pt x="541" y="521"/>
                      </a:lnTo>
                      <a:lnTo>
                        <a:pt x="544" y="517"/>
                      </a:lnTo>
                      <a:lnTo>
                        <a:pt x="545" y="513"/>
                      </a:lnTo>
                      <a:lnTo>
                        <a:pt x="545" y="509"/>
                      </a:lnTo>
                      <a:lnTo>
                        <a:pt x="543" y="504"/>
                      </a:lnTo>
                      <a:lnTo>
                        <a:pt x="488" y="39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</p:grpSp>
        </p:grpSp>
        <p:grpSp>
          <p:nvGrpSpPr>
            <p:cNvPr id="12" name="iṣ1ïḋê">
              <a:extLst>
                <a:ext uri="{FF2B5EF4-FFF2-40B4-BE49-F238E27FC236}">
                  <a16:creationId xmlns:a16="http://schemas.microsoft.com/office/drawing/2014/main" id="{1795CE49-3A1B-4994-B13C-F5A40083BA02}"/>
                </a:ext>
              </a:extLst>
            </p:cNvPr>
            <p:cNvGrpSpPr/>
            <p:nvPr/>
          </p:nvGrpSpPr>
          <p:grpSpPr>
            <a:xfrm>
              <a:off x="7761155" y="2188828"/>
              <a:ext cx="952304" cy="623435"/>
              <a:chOff x="6349908" y="2695299"/>
              <a:chExt cx="952304" cy="623435"/>
            </a:xfrm>
          </p:grpSpPr>
          <p:sp>
            <p:nvSpPr>
              <p:cNvPr id="28" name="íšľîďe">
                <a:extLst>
                  <a:ext uri="{FF2B5EF4-FFF2-40B4-BE49-F238E27FC236}">
                    <a16:creationId xmlns:a16="http://schemas.microsoft.com/office/drawing/2014/main" id="{74330071-823E-4C3D-97C8-402087975A26}"/>
                  </a:ext>
                </a:extLst>
              </p:cNvPr>
              <p:cNvSpPr txBox="1"/>
              <p:nvPr/>
            </p:nvSpPr>
            <p:spPr>
              <a:xfrm>
                <a:off x="6349908" y="2980180"/>
                <a:ext cx="952304" cy="33855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Apr-Jun</a:t>
                </a:r>
              </a:p>
            </p:txBody>
          </p:sp>
          <p:grpSp>
            <p:nvGrpSpPr>
              <p:cNvPr id="29" name="iSḻiďé">
                <a:extLst>
                  <a:ext uri="{FF2B5EF4-FFF2-40B4-BE49-F238E27FC236}">
                    <a16:creationId xmlns:a16="http://schemas.microsoft.com/office/drawing/2014/main" id="{36ABE691-93DA-438F-BA08-348D6D0E018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700714" y="2695299"/>
                <a:ext cx="250681" cy="252001"/>
                <a:chOff x="1547813" y="3240088"/>
                <a:chExt cx="301626" cy="303213"/>
              </a:xfrm>
              <a:solidFill>
                <a:sysClr val="window" lastClr="FFFFFF"/>
              </a:solidFill>
            </p:grpSpPr>
            <p:sp>
              <p:nvSpPr>
                <p:cNvPr id="30" name="ï$ḻíḓè">
                  <a:extLst>
                    <a:ext uri="{FF2B5EF4-FFF2-40B4-BE49-F238E27FC236}">
                      <a16:creationId xmlns:a16="http://schemas.microsoft.com/office/drawing/2014/main" id="{C735B9A9-B286-4DDB-96A9-C4EB645BB7D2}"/>
                    </a:ext>
                  </a:extLst>
                </p:cNvPr>
                <p:cNvSpPr/>
                <p:nvPr/>
              </p:nvSpPr>
              <p:spPr bwMode="auto">
                <a:xfrm>
                  <a:off x="1611313" y="3392488"/>
                  <a:ext cx="85725" cy="87313"/>
                </a:xfrm>
                <a:custGeom>
                  <a:avLst/>
                  <a:gdLst>
                    <a:gd name="T0" fmla="*/ 92 w 218"/>
                    <a:gd name="T1" fmla="*/ 191 h 219"/>
                    <a:gd name="T2" fmla="*/ 70 w 218"/>
                    <a:gd name="T3" fmla="*/ 183 h 219"/>
                    <a:gd name="T4" fmla="*/ 50 w 218"/>
                    <a:gd name="T5" fmla="*/ 168 h 219"/>
                    <a:gd name="T6" fmla="*/ 35 w 218"/>
                    <a:gd name="T7" fmla="*/ 149 h 219"/>
                    <a:gd name="T8" fmla="*/ 27 w 218"/>
                    <a:gd name="T9" fmla="*/ 125 h 219"/>
                    <a:gd name="T10" fmla="*/ 26 w 218"/>
                    <a:gd name="T11" fmla="*/ 101 h 219"/>
                    <a:gd name="T12" fmla="*/ 32 w 218"/>
                    <a:gd name="T13" fmla="*/ 77 h 219"/>
                    <a:gd name="T14" fmla="*/ 45 w 218"/>
                    <a:gd name="T15" fmla="*/ 56 h 219"/>
                    <a:gd name="T16" fmla="*/ 62 w 218"/>
                    <a:gd name="T17" fmla="*/ 40 h 219"/>
                    <a:gd name="T18" fmla="*/ 85 w 218"/>
                    <a:gd name="T19" fmla="*/ 29 h 219"/>
                    <a:gd name="T20" fmla="*/ 109 w 218"/>
                    <a:gd name="T21" fmla="*/ 26 h 219"/>
                    <a:gd name="T22" fmla="*/ 134 w 218"/>
                    <a:gd name="T23" fmla="*/ 29 h 219"/>
                    <a:gd name="T24" fmla="*/ 155 w 218"/>
                    <a:gd name="T25" fmla="*/ 40 h 219"/>
                    <a:gd name="T26" fmla="*/ 174 w 218"/>
                    <a:gd name="T27" fmla="*/ 56 h 219"/>
                    <a:gd name="T28" fmla="*/ 186 w 218"/>
                    <a:gd name="T29" fmla="*/ 77 h 219"/>
                    <a:gd name="T30" fmla="*/ 192 w 218"/>
                    <a:gd name="T31" fmla="*/ 101 h 219"/>
                    <a:gd name="T32" fmla="*/ 191 w 218"/>
                    <a:gd name="T33" fmla="*/ 125 h 219"/>
                    <a:gd name="T34" fmla="*/ 182 w 218"/>
                    <a:gd name="T35" fmla="*/ 149 h 219"/>
                    <a:gd name="T36" fmla="*/ 168 w 218"/>
                    <a:gd name="T37" fmla="*/ 168 h 219"/>
                    <a:gd name="T38" fmla="*/ 149 w 218"/>
                    <a:gd name="T39" fmla="*/ 183 h 219"/>
                    <a:gd name="T40" fmla="*/ 125 w 218"/>
                    <a:gd name="T41" fmla="*/ 191 h 219"/>
                    <a:gd name="T42" fmla="*/ 109 w 218"/>
                    <a:gd name="T43" fmla="*/ 0 h 219"/>
                    <a:gd name="T44" fmla="*/ 77 w 218"/>
                    <a:gd name="T45" fmla="*/ 4 h 219"/>
                    <a:gd name="T46" fmla="*/ 48 w 218"/>
                    <a:gd name="T47" fmla="*/ 18 h 219"/>
                    <a:gd name="T48" fmla="*/ 25 w 218"/>
                    <a:gd name="T49" fmla="*/ 40 h 219"/>
                    <a:gd name="T50" fmla="*/ 8 w 218"/>
                    <a:gd name="T51" fmla="*/ 66 h 219"/>
                    <a:gd name="T52" fmla="*/ 1 w 218"/>
                    <a:gd name="T53" fmla="*/ 98 h 219"/>
                    <a:gd name="T54" fmla="*/ 2 w 218"/>
                    <a:gd name="T55" fmla="*/ 131 h 219"/>
                    <a:gd name="T56" fmla="*/ 13 w 218"/>
                    <a:gd name="T57" fmla="*/ 161 h 219"/>
                    <a:gd name="T58" fmla="*/ 32 w 218"/>
                    <a:gd name="T59" fmla="*/ 187 h 219"/>
                    <a:gd name="T60" fmla="*/ 57 w 218"/>
                    <a:gd name="T61" fmla="*/ 205 h 219"/>
                    <a:gd name="T62" fmla="*/ 87 w 218"/>
                    <a:gd name="T63" fmla="*/ 217 h 219"/>
                    <a:gd name="T64" fmla="*/ 120 w 218"/>
                    <a:gd name="T65" fmla="*/ 218 h 219"/>
                    <a:gd name="T66" fmla="*/ 151 w 218"/>
                    <a:gd name="T67" fmla="*/ 210 h 219"/>
                    <a:gd name="T68" fmla="*/ 178 w 218"/>
                    <a:gd name="T69" fmla="*/ 193 h 219"/>
                    <a:gd name="T70" fmla="*/ 200 w 218"/>
                    <a:gd name="T71" fmla="*/ 171 h 219"/>
                    <a:gd name="T72" fmla="*/ 213 w 218"/>
                    <a:gd name="T73" fmla="*/ 142 h 219"/>
                    <a:gd name="T74" fmla="*/ 218 w 218"/>
                    <a:gd name="T75" fmla="*/ 109 h 219"/>
                    <a:gd name="T76" fmla="*/ 213 w 218"/>
                    <a:gd name="T77" fmla="*/ 77 h 219"/>
                    <a:gd name="T78" fmla="*/ 200 w 218"/>
                    <a:gd name="T79" fmla="*/ 48 h 219"/>
                    <a:gd name="T80" fmla="*/ 178 w 218"/>
                    <a:gd name="T81" fmla="*/ 25 h 219"/>
                    <a:gd name="T82" fmla="*/ 151 w 218"/>
                    <a:gd name="T83" fmla="*/ 8 h 219"/>
                    <a:gd name="T84" fmla="*/ 120 w 218"/>
                    <a:gd name="T85" fmla="*/ 0 h 2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18" h="219">
                      <a:moveTo>
                        <a:pt x="109" y="193"/>
                      </a:moveTo>
                      <a:lnTo>
                        <a:pt x="101" y="193"/>
                      </a:lnTo>
                      <a:lnTo>
                        <a:pt x="92" y="191"/>
                      </a:lnTo>
                      <a:lnTo>
                        <a:pt x="85" y="190"/>
                      </a:lnTo>
                      <a:lnTo>
                        <a:pt x="76" y="187"/>
                      </a:lnTo>
                      <a:lnTo>
                        <a:pt x="70" y="183"/>
                      </a:lnTo>
                      <a:lnTo>
                        <a:pt x="62" y="179"/>
                      </a:lnTo>
                      <a:lnTo>
                        <a:pt x="56" y="174"/>
                      </a:lnTo>
                      <a:lnTo>
                        <a:pt x="50" y="168"/>
                      </a:lnTo>
                      <a:lnTo>
                        <a:pt x="45" y="162"/>
                      </a:lnTo>
                      <a:lnTo>
                        <a:pt x="40" y="156"/>
                      </a:lnTo>
                      <a:lnTo>
                        <a:pt x="35" y="149"/>
                      </a:lnTo>
                      <a:lnTo>
                        <a:pt x="32" y="142"/>
                      </a:lnTo>
                      <a:lnTo>
                        <a:pt x="29" y="134"/>
                      </a:lnTo>
                      <a:lnTo>
                        <a:pt x="27" y="125"/>
                      </a:lnTo>
                      <a:lnTo>
                        <a:pt x="26" y="118"/>
                      </a:lnTo>
                      <a:lnTo>
                        <a:pt x="26" y="109"/>
                      </a:lnTo>
                      <a:lnTo>
                        <a:pt x="26" y="101"/>
                      </a:lnTo>
                      <a:lnTo>
                        <a:pt x="27" y="92"/>
                      </a:lnTo>
                      <a:lnTo>
                        <a:pt x="29" y="85"/>
                      </a:lnTo>
                      <a:lnTo>
                        <a:pt x="32" y="77"/>
                      </a:lnTo>
                      <a:lnTo>
                        <a:pt x="35" y="70"/>
                      </a:lnTo>
                      <a:lnTo>
                        <a:pt x="40" y="62"/>
                      </a:lnTo>
                      <a:lnTo>
                        <a:pt x="45" y="56"/>
                      </a:lnTo>
                      <a:lnTo>
                        <a:pt x="50" y="50"/>
                      </a:lnTo>
                      <a:lnTo>
                        <a:pt x="56" y="45"/>
                      </a:lnTo>
                      <a:lnTo>
                        <a:pt x="62" y="40"/>
                      </a:lnTo>
                      <a:lnTo>
                        <a:pt x="70" y="35"/>
                      </a:lnTo>
                      <a:lnTo>
                        <a:pt x="76" y="32"/>
                      </a:lnTo>
                      <a:lnTo>
                        <a:pt x="85" y="29"/>
                      </a:lnTo>
                      <a:lnTo>
                        <a:pt x="92" y="27"/>
                      </a:lnTo>
                      <a:lnTo>
                        <a:pt x="101" y="26"/>
                      </a:lnTo>
                      <a:lnTo>
                        <a:pt x="109" y="26"/>
                      </a:lnTo>
                      <a:lnTo>
                        <a:pt x="118" y="26"/>
                      </a:lnTo>
                      <a:lnTo>
                        <a:pt x="125" y="27"/>
                      </a:lnTo>
                      <a:lnTo>
                        <a:pt x="134" y="29"/>
                      </a:lnTo>
                      <a:lnTo>
                        <a:pt x="142" y="32"/>
                      </a:lnTo>
                      <a:lnTo>
                        <a:pt x="149" y="35"/>
                      </a:lnTo>
                      <a:lnTo>
                        <a:pt x="155" y="40"/>
                      </a:lnTo>
                      <a:lnTo>
                        <a:pt x="162" y="45"/>
                      </a:lnTo>
                      <a:lnTo>
                        <a:pt x="168" y="50"/>
                      </a:lnTo>
                      <a:lnTo>
                        <a:pt x="174" y="56"/>
                      </a:lnTo>
                      <a:lnTo>
                        <a:pt x="178" y="62"/>
                      </a:lnTo>
                      <a:lnTo>
                        <a:pt x="182" y="70"/>
                      </a:lnTo>
                      <a:lnTo>
                        <a:pt x="186" y="77"/>
                      </a:lnTo>
                      <a:lnTo>
                        <a:pt x="189" y="85"/>
                      </a:lnTo>
                      <a:lnTo>
                        <a:pt x="191" y="92"/>
                      </a:lnTo>
                      <a:lnTo>
                        <a:pt x="192" y="101"/>
                      </a:lnTo>
                      <a:lnTo>
                        <a:pt x="193" y="109"/>
                      </a:lnTo>
                      <a:lnTo>
                        <a:pt x="192" y="118"/>
                      </a:lnTo>
                      <a:lnTo>
                        <a:pt x="191" y="125"/>
                      </a:lnTo>
                      <a:lnTo>
                        <a:pt x="189" y="134"/>
                      </a:lnTo>
                      <a:lnTo>
                        <a:pt x="186" y="142"/>
                      </a:lnTo>
                      <a:lnTo>
                        <a:pt x="182" y="149"/>
                      </a:lnTo>
                      <a:lnTo>
                        <a:pt x="178" y="156"/>
                      </a:lnTo>
                      <a:lnTo>
                        <a:pt x="174" y="162"/>
                      </a:lnTo>
                      <a:lnTo>
                        <a:pt x="168" y="168"/>
                      </a:lnTo>
                      <a:lnTo>
                        <a:pt x="162" y="174"/>
                      </a:lnTo>
                      <a:lnTo>
                        <a:pt x="155" y="179"/>
                      </a:lnTo>
                      <a:lnTo>
                        <a:pt x="149" y="183"/>
                      </a:lnTo>
                      <a:lnTo>
                        <a:pt x="142" y="187"/>
                      </a:lnTo>
                      <a:lnTo>
                        <a:pt x="134" y="190"/>
                      </a:lnTo>
                      <a:lnTo>
                        <a:pt x="125" y="191"/>
                      </a:lnTo>
                      <a:lnTo>
                        <a:pt x="118" y="193"/>
                      </a:lnTo>
                      <a:lnTo>
                        <a:pt x="109" y="193"/>
                      </a:lnTo>
                      <a:close/>
                      <a:moveTo>
                        <a:pt x="109" y="0"/>
                      </a:moveTo>
                      <a:lnTo>
                        <a:pt x="98" y="0"/>
                      </a:lnTo>
                      <a:lnTo>
                        <a:pt x="87" y="2"/>
                      </a:lnTo>
                      <a:lnTo>
                        <a:pt x="77" y="4"/>
                      </a:lnTo>
                      <a:lnTo>
                        <a:pt x="66" y="8"/>
                      </a:lnTo>
                      <a:lnTo>
                        <a:pt x="57" y="13"/>
                      </a:lnTo>
                      <a:lnTo>
                        <a:pt x="48" y="18"/>
                      </a:lnTo>
                      <a:lnTo>
                        <a:pt x="40" y="25"/>
                      </a:lnTo>
                      <a:lnTo>
                        <a:pt x="32" y="32"/>
                      </a:lnTo>
                      <a:lnTo>
                        <a:pt x="25" y="40"/>
                      </a:lnTo>
                      <a:lnTo>
                        <a:pt x="19" y="48"/>
                      </a:lnTo>
                      <a:lnTo>
                        <a:pt x="13" y="57"/>
                      </a:lnTo>
                      <a:lnTo>
                        <a:pt x="8" y="66"/>
                      </a:lnTo>
                      <a:lnTo>
                        <a:pt x="5" y="77"/>
                      </a:lnTo>
                      <a:lnTo>
                        <a:pt x="2" y="87"/>
                      </a:lnTo>
                      <a:lnTo>
                        <a:pt x="1" y="98"/>
                      </a:lnTo>
                      <a:lnTo>
                        <a:pt x="0" y="109"/>
                      </a:lnTo>
                      <a:lnTo>
                        <a:pt x="1" y="120"/>
                      </a:lnTo>
                      <a:lnTo>
                        <a:pt x="2" y="131"/>
                      </a:lnTo>
                      <a:lnTo>
                        <a:pt x="5" y="142"/>
                      </a:lnTo>
                      <a:lnTo>
                        <a:pt x="8" y="151"/>
                      </a:lnTo>
                      <a:lnTo>
                        <a:pt x="13" y="161"/>
                      </a:lnTo>
                      <a:lnTo>
                        <a:pt x="19" y="171"/>
                      </a:lnTo>
                      <a:lnTo>
                        <a:pt x="25" y="178"/>
                      </a:lnTo>
                      <a:lnTo>
                        <a:pt x="32" y="187"/>
                      </a:lnTo>
                      <a:lnTo>
                        <a:pt x="40" y="193"/>
                      </a:lnTo>
                      <a:lnTo>
                        <a:pt x="48" y="200"/>
                      </a:lnTo>
                      <a:lnTo>
                        <a:pt x="57" y="205"/>
                      </a:lnTo>
                      <a:lnTo>
                        <a:pt x="66" y="210"/>
                      </a:lnTo>
                      <a:lnTo>
                        <a:pt x="77" y="214"/>
                      </a:lnTo>
                      <a:lnTo>
                        <a:pt x="87" y="217"/>
                      </a:lnTo>
                      <a:lnTo>
                        <a:pt x="98" y="218"/>
                      </a:lnTo>
                      <a:lnTo>
                        <a:pt x="109" y="219"/>
                      </a:lnTo>
                      <a:lnTo>
                        <a:pt x="120" y="218"/>
                      </a:lnTo>
                      <a:lnTo>
                        <a:pt x="131" y="217"/>
                      </a:lnTo>
                      <a:lnTo>
                        <a:pt x="142" y="214"/>
                      </a:lnTo>
                      <a:lnTo>
                        <a:pt x="151" y="210"/>
                      </a:lnTo>
                      <a:lnTo>
                        <a:pt x="161" y="205"/>
                      </a:lnTo>
                      <a:lnTo>
                        <a:pt x="169" y="200"/>
                      </a:lnTo>
                      <a:lnTo>
                        <a:pt x="178" y="193"/>
                      </a:lnTo>
                      <a:lnTo>
                        <a:pt x="187" y="187"/>
                      </a:lnTo>
                      <a:lnTo>
                        <a:pt x="193" y="178"/>
                      </a:lnTo>
                      <a:lnTo>
                        <a:pt x="200" y="171"/>
                      </a:lnTo>
                      <a:lnTo>
                        <a:pt x="205" y="161"/>
                      </a:lnTo>
                      <a:lnTo>
                        <a:pt x="209" y="151"/>
                      </a:lnTo>
                      <a:lnTo>
                        <a:pt x="213" y="142"/>
                      </a:lnTo>
                      <a:lnTo>
                        <a:pt x="216" y="131"/>
                      </a:lnTo>
                      <a:lnTo>
                        <a:pt x="218" y="120"/>
                      </a:lnTo>
                      <a:lnTo>
                        <a:pt x="218" y="109"/>
                      </a:lnTo>
                      <a:lnTo>
                        <a:pt x="218" y="98"/>
                      </a:lnTo>
                      <a:lnTo>
                        <a:pt x="216" y="87"/>
                      </a:lnTo>
                      <a:lnTo>
                        <a:pt x="213" y="77"/>
                      </a:lnTo>
                      <a:lnTo>
                        <a:pt x="209" y="66"/>
                      </a:lnTo>
                      <a:lnTo>
                        <a:pt x="205" y="57"/>
                      </a:lnTo>
                      <a:lnTo>
                        <a:pt x="200" y="48"/>
                      </a:lnTo>
                      <a:lnTo>
                        <a:pt x="193" y="40"/>
                      </a:lnTo>
                      <a:lnTo>
                        <a:pt x="187" y="32"/>
                      </a:lnTo>
                      <a:lnTo>
                        <a:pt x="178" y="25"/>
                      </a:lnTo>
                      <a:lnTo>
                        <a:pt x="169" y="18"/>
                      </a:lnTo>
                      <a:lnTo>
                        <a:pt x="161" y="13"/>
                      </a:lnTo>
                      <a:lnTo>
                        <a:pt x="151" y="8"/>
                      </a:lnTo>
                      <a:lnTo>
                        <a:pt x="142" y="4"/>
                      </a:lnTo>
                      <a:lnTo>
                        <a:pt x="131" y="2"/>
                      </a:lnTo>
                      <a:lnTo>
                        <a:pt x="120" y="0"/>
                      </a:lnTo>
                      <a:lnTo>
                        <a:pt x="10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  <p:sp>
              <p:nvSpPr>
                <p:cNvPr id="31" name="îśļîḓe">
                  <a:extLst>
                    <a:ext uri="{FF2B5EF4-FFF2-40B4-BE49-F238E27FC236}">
                      <a16:creationId xmlns:a16="http://schemas.microsoft.com/office/drawing/2014/main" id="{98824B92-0AC2-4742-B3D4-095BB2606539}"/>
                    </a:ext>
                  </a:extLst>
                </p:cNvPr>
                <p:cNvSpPr/>
                <p:nvPr/>
              </p:nvSpPr>
              <p:spPr bwMode="auto">
                <a:xfrm>
                  <a:off x="1763713" y="3278188"/>
                  <a:ext cx="49213" cy="47625"/>
                </a:xfrm>
                <a:custGeom>
                  <a:avLst/>
                  <a:gdLst>
                    <a:gd name="T0" fmla="*/ 54 w 122"/>
                    <a:gd name="T1" fmla="*/ 96 h 121"/>
                    <a:gd name="T2" fmla="*/ 41 w 122"/>
                    <a:gd name="T3" fmla="*/ 90 h 121"/>
                    <a:gd name="T4" fmla="*/ 31 w 122"/>
                    <a:gd name="T5" fmla="*/ 81 h 121"/>
                    <a:gd name="T6" fmla="*/ 26 w 122"/>
                    <a:gd name="T7" fmla="*/ 68 h 121"/>
                    <a:gd name="T8" fmla="*/ 26 w 122"/>
                    <a:gd name="T9" fmla="*/ 54 h 121"/>
                    <a:gd name="T10" fmla="*/ 31 w 122"/>
                    <a:gd name="T11" fmla="*/ 41 h 121"/>
                    <a:gd name="T12" fmla="*/ 41 w 122"/>
                    <a:gd name="T13" fmla="*/ 31 h 121"/>
                    <a:gd name="T14" fmla="*/ 54 w 122"/>
                    <a:gd name="T15" fmla="*/ 26 h 121"/>
                    <a:gd name="T16" fmla="*/ 68 w 122"/>
                    <a:gd name="T17" fmla="*/ 26 h 121"/>
                    <a:gd name="T18" fmla="*/ 81 w 122"/>
                    <a:gd name="T19" fmla="*/ 31 h 121"/>
                    <a:gd name="T20" fmla="*/ 90 w 122"/>
                    <a:gd name="T21" fmla="*/ 41 h 121"/>
                    <a:gd name="T22" fmla="*/ 96 w 122"/>
                    <a:gd name="T23" fmla="*/ 54 h 121"/>
                    <a:gd name="T24" fmla="*/ 96 w 122"/>
                    <a:gd name="T25" fmla="*/ 68 h 121"/>
                    <a:gd name="T26" fmla="*/ 90 w 122"/>
                    <a:gd name="T27" fmla="*/ 81 h 121"/>
                    <a:gd name="T28" fmla="*/ 81 w 122"/>
                    <a:gd name="T29" fmla="*/ 90 h 121"/>
                    <a:gd name="T30" fmla="*/ 68 w 122"/>
                    <a:gd name="T31" fmla="*/ 96 h 121"/>
                    <a:gd name="T32" fmla="*/ 61 w 122"/>
                    <a:gd name="T33" fmla="*/ 0 h 121"/>
                    <a:gd name="T34" fmla="*/ 49 w 122"/>
                    <a:gd name="T35" fmla="*/ 1 h 121"/>
                    <a:gd name="T36" fmla="*/ 38 w 122"/>
                    <a:gd name="T37" fmla="*/ 4 h 121"/>
                    <a:gd name="T38" fmla="*/ 27 w 122"/>
                    <a:gd name="T39" fmla="*/ 11 h 121"/>
                    <a:gd name="T40" fmla="*/ 19 w 122"/>
                    <a:gd name="T41" fmla="*/ 18 h 121"/>
                    <a:gd name="T42" fmla="*/ 11 w 122"/>
                    <a:gd name="T43" fmla="*/ 27 h 121"/>
                    <a:gd name="T44" fmla="*/ 5 w 122"/>
                    <a:gd name="T45" fmla="*/ 38 h 121"/>
                    <a:gd name="T46" fmla="*/ 1 w 122"/>
                    <a:gd name="T47" fmla="*/ 48 h 121"/>
                    <a:gd name="T48" fmla="*/ 0 w 122"/>
                    <a:gd name="T49" fmla="*/ 61 h 121"/>
                    <a:gd name="T50" fmla="*/ 1 w 122"/>
                    <a:gd name="T51" fmla="*/ 73 h 121"/>
                    <a:gd name="T52" fmla="*/ 5 w 122"/>
                    <a:gd name="T53" fmla="*/ 85 h 121"/>
                    <a:gd name="T54" fmla="*/ 11 w 122"/>
                    <a:gd name="T55" fmla="*/ 96 h 121"/>
                    <a:gd name="T56" fmla="*/ 19 w 122"/>
                    <a:gd name="T57" fmla="*/ 104 h 121"/>
                    <a:gd name="T58" fmla="*/ 27 w 122"/>
                    <a:gd name="T59" fmla="*/ 112 h 121"/>
                    <a:gd name="T60" fmla="*/ 38 w 122"/>
                    <a:gd name="T61" fmla="*/ 117 h 121"/>
                    <a:gd name="T62" fmla="*/ 49 w 122"/>
                    <a:gd name="T63" fmla="*/ 120 h 121"/>
                    <a:gd name="T64" fmla="*/ 61 w 122"/>
                    <a:gd name="T65" fmla="*/ 121 h 121"/>
                    <a:gd name="T66" fmla="*/ 73 w 122"/>
                    <a:gd name="T67" fmla="*/ 120 h 121"/>
                    <a:gd name="T68" fmla="*/ 85 w 122"/>
                    <a:gd name="T69" fmla="*/ 117 h 121"/>
                    <a:gd name="T70" fmla="*/ 95 w 122"/>
                    <a:gd name="T71" fmla="*/ 112 h 121"/>
                    <a:gd name="T72" fmla="*/ 104 w 122"/>
                    <a:gd name="T73" fmla="*/ 104 h 121"/>
                    <a:gd name="T74" fmla="*/ 112 w 122"/>
                    <a:gd name="T75" fmla="*/ 96 h 121"/>
                    <a:gd name="T76" fmla="*/ 117 w 122"/>
                    <a:gd name="T77" fmla="*/ 85 h 121"/>
                    <a:gd name="T78" fmla="*/ 121 w 122"/>
                    <a:gd name="T79" fmla="*/ 73 h 121"/>
                    <a:gd name="T80" fmla="*/ 122 w 122"/>
                    <a:gd name="T81" fmla="*/ 61 h 121"/>
                    <a:gd name="T82" fmla="*/ 121 w 122"/>
                    <a:gd name="T83" fmla="*/ 48 h 121"/>
                    <a:gd name="T84" fmla="*/ 117 w 122"/>
                    <a:gd name="T85" fmla="*/ 38 h 121"/>
                    <a:gd name="T86" fmla="*/ 112 w 122"/>
                    <a:gd name="T87" fmla="*/ 27 h 121"/>
                    <a:gd name="T88" fmla="*/ 104 w 122"/>
                    <a:gd name="T89" fmla="*/ 18 h 121"/>
                    <a:gd name="T90" fmla="*/ 95 w 122"/>
                    <a:gd name="T91" fmla="*/ 11 h 121"/>
                    <a:gd name="T92" fmla="*/ 85 w 122"/>
                    <a:gd name="T93" fmla="*/ 4 h 121"/>
                    <a:gd name="T94" fmla="*/ 73 w 122"/>
                    <a:gd name="T95" fmla="*/ 1 h 121"/>
                    <a:gd name="T96" fmla="*/ 61 w 122"/>
                    <a:gd name="T97" fmla="*/ 0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22" h="121">
                      <a:moveTo>
                        <a:pt x="61" y="97"/>
                      </a:moveTo>
                      <a:lnTo>
                        <a:pt x="54" y="96"/>
                      </a:lnTo>
                      <a:lnTo>
                        <a:pt x="47" y="93"/>
                      </a:lnTo>
                      <a:lnTo>
                        <a:pt x="41" y="90"/>
                      </a:lnTo>
                      <a:lnTo>
                        <a:pt x="36" y="86"/>
                      </a:lnTo>
                      <a:lnTo>
                        <a:pt x="31" y="81"/>
                      </a:lnTo>
                      <a:lnTo>
                        <a:pt x="28" y="75"/>
                      </a:lnTo>
                      <a:lnTo>
                        <a:pt x="26" y="68"/>
                      </a:lnTo>
                      <a:lnTo>
                        <a:pt x="26" y="61"/>
                      </a:lnTo>
                      <a:lnTo>
                        <a:pt x="26" y="54"/>
                      </a:lnTo>
                      <a:lnTo>
                        <a:pt x="28" y="47"/>
                      </a:lnTo>
                      <a:lnTo>
                        <a:pt x="31" y="41"/>
                      </a:lnTo>
                      <a:lnTo>
                        <a:pt x="36" y="35"/>
                      </a:lnTo>
                      <a:lnTo>
                        <a:pt x="41" y="31"/>
                      </a:lnTo>
                      <a:lnTo>
                        <a:pt x="47" y="28"/>
                      </a:lnTo>
                      <a:lnTo>
                        <a:pt x="54" y="26"/>
                      </a:lnTo>
                      <a:lnTo>
                        <a:pt x="61" y="25"/>
                      </a:lnTo>
                      <a:lnTo>
                        <a:pt x="68" y="26"/>
                      </a:lnTo>
                      <a:lnTo>
                        <a:pt x="75" y="28"/>
                      </a:lnTo>
                      <a:lnTo>
                        <a:pt x="81" y="31"/>
                      </a:lnTo>
                      <a:lnTo>
                        <a:pt x="86" y="35"/>
                      </a:lnTo>
                      <a:lnTo>
                        <a:pt x="90" y="41"/>
                      </a:lnTo>
                      <a:lnTo>
                        <a:pt x="94" y="47"/>
                      </a:lnTo>
                      <a:lnTo>
                        <a:pt x="96" y="54"/>
                      </a:lnTo>
                      <a:lnTo>
                        <a:pt x="97" y="61"/>
                      </a:lnTo>
                      <a:lnTo>
                        <a:pt x="96" y="68"/>
                      </a:lnTo>
                      <a:lnTo>
                        <a:pt x="94" y="75"/>
                      </a:lnTo>
                      <a:lnTo>
                        <a:pt x="90" y="81"/>
                      </a:lnTo>
                      <a:lnTo>
                        <a:pt x="86" y="86"/>
                      </a:lnTo>
                      <a:lnTo>
                        <a:pt x="81" y="90"/>
                      </a:lnTo>
                      <a:lnTo>
                        <a:pt x="75" y="93"/>
                      </a:lnTo>
                      <a:lnTo>
                        <a:pt x="68" y="96"/>
                      </a:lnTo>
                      <a:lnTo>
                        <a:pt x="61" y="97"/>
                      </a:lnTo>
                      <a:close/>
                      <a:moveTo>
                        <a:pt x="61" y="0"/>
                      </a:moveTo>
                      <a:lnTo>
                        <a:pt x="55" y="0"/>
                      </a:lnTo>
                      <a:lnTo>
                        <a:pt x="49" y="1"/>
                      </a:lnTo>
                      <a:lnTo>
                        <a:pt x="43" y="2"/>
                      </a:lnTo>
                      <a:lnTo>
                        <a:pt x="38" y="4"/>
                      </a:lnTo>
                      <a:lnTo>
                        <a:pt x="32" y="8"/>
                      </a:lnTo>
                      <a:lnTo>
                        <a:pt x="27" y="11"/>
                      </a:lnTo>
                      <a:lnTo>
                        <a:pt x="23" y="14"/>
                      </a:lnTo>
                      <a:lnTo>
                        <a:pt x="19" y="18"/>
                      </a:lnTo>
                      <a:lnTo>
                        <a:pt x="14" y="23"/>
                      </a:lnTo>
                      <a:lnTo>
                        <a:pt x="11" y="27"/>
                      </a:lnTo>
                      <a:lnTo>
                        <a:pt x="8" y="32"/>
                      </a:lnTo>
                      <a:lnTo>
                        <a:pt x="5" y="38"/>
                      </a:lnTo>
                      <a:lnTo>
                        <a:pt x="3" y="43"/>
                      </a:lnTo>
                      <a:lnTo>
                        <a:pt x="1" y="48"/>
                      </a:lnTo>
                      <a:lnTo>
                        <a:pt x="0" y="55"/>
                      </a:lnTo>
                      <a:lnTo>
                        <a:pt x="0" y="61"/>
                      </a:lnTo>
                      <a:lnTo>
                        <a:pt x="0" y="67"/>
                      </a:lnTo>
                      <a:lnTo>
                        <a:pt x="1" y="73"/>
                      </a:lnTo>
                      <a:lnTo>
                        <a:pt x="3" y="79"/>
                      </a:lnTo>
                      <a:lnTo>
                        <a:pt x="5" y="85"/>
                      </a:lnTo>
                      <a:lnTo>
                        <a:pt x="8" y="90"/>
                      </a:lnTo>
                      <a:lnTo>
                        <a:pt x="11" y="96"/>
                      </a:lnTo>
                      <a:lnTo>
                        <a:pt x="14" y="100"/>
                      </a:lnTo>
                      <a:lnTo>
                        <a:pt x="19" y="104"/>
                      </a:lnTo>
                      <a:lnTo>
                        <a:pt x="23" y="108"/>
                      </a:lnTo>
                      <a:lnTo>
                        <a:pt x="27" y="112"/>
                      </a:lnTo>
                      <a:lnTo>
                        <a:pt x="32" y="115"/>
                      </a:lnTo>
                      <a:lnTo>
                        <a:pt x="38" y="117"/>
                      </a:lnTo>
                      <a:lnTo>
                        <a:pt x="43" y="119"/>
                      </a:lnTo>
                      <a:lnTo>
                        <a:pt x="49" y="120"/>
                      </a:lnTo>
                      <a:lnTo>
                        <a:pt x="55" y="121"/>
                      </a:lnTo>
                      <a:lnTo>
                        <a:pt x="61" y="121"/>
                      </a:lnTo>
                      <a:lnTo>
                        <a:pt x="68" y="121"/>
                      </a:lnTo>
                      <a:lnTo>
                        <a:pt x="73" y="120"/>
                      </a:lnTo>
                      <a:lnTo>
                        <a:pt x="80" y="119"/>
                      </a:lnTo>
                      <a:lnTo>
                        <a:pt x="85" y="117"/>
                      </a:lnTo>
                      <a:lnTo>
                        <a:pt x="90" y="115"/>
                      </a:lnTo>
                      <a:lnTo>
                        <a:pt x="95" y="112"/>
                      </a:lnTo>
                      <a:lnTo>
                        <a:pt x="100" y="108"/>
                      </a:lnTo>
                      <a:lnTo>
                        <a:pt x="104" y="104"/>
                      </a:lnTo>
                      <a:lnTo>
                        <a:pt x="108" y="100"/>
                      </a:lnTo>
                      <a:lnTo>
                        <a:pt x="112" y="96"/>
                      </a:lnTo>
                      <a:lnTo>
                        <a:pt x="115" y="90"/>
                      </a:lnTo>
                      <a:lnTo>
                        <a:pt x="117" y="85"/>
                      </a:lnTo>
                      <a:lnTo>
                        <a:pt x="119" y="79"/>
                      </a:lnTo>
                      <a:lnTo>
                        <a:pt x="121" y="73"/>
                      </a:lnTo>
                      <a:lnTo>
                        <a:pt x="122" y="67"/>
                      </a:lnTo>
                      <a:lnTo>
                        <a:pt x="122" y="61"/>
                      </a:lnTo>
                      <a:lnTo>
                        <a:pt x="122" y="55"/>
                      </a:lnTo>
                      <a:lnTo>
                        <a:pt x="121" y="48"/>
                      </a:lnTo>
                      <a:lnTo>
                        <a:pt x="119" y="43"/>
                      </a:lnTo>
                      <a:lnTo>
                        <a:pt x="117" y="38"/>
                      </a:lnTo>
                      <a:lnTo>
                        <a:pt x="115" y="32"/>
                      </a:lnTo>
                      <a:lnTo>
                        <a:pt x="112" y="27"/>
                      </a:lnTo>
                      <a:lnTo>
                        <a:pt x="108" y="23"/>
                      </a:lnTo>
                      <a:lnTo>
                        <a:pt x="104" y="18"/>
                      </a:lnTo>
                      <a:lnTo>
                        <a:pt x="100" y="14"/>
                      </a:lnTo>
                      <a:lnTo>
                        <a:pt x="95" y="11"/>
                      </a:lnTo>
                      <a:lnTo>
                        <a:pt x="90" y="8"/>
                      </a:lnTo>
                      <a:lnTo>
                        <a:pt x="85" y="4"/>
                      </a:lnTo>
                      <a:lnTo>
                        <a:pt x="80" y="2"/>
                      </a:lnTo>
                      <a:lnTo>
                        <a:pt x="73" y="1"/>
                      </a:lnTo>
                      <a:lnTo>
                        <a:pt x="68" y="0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  <p:sp>
              <p:nvSpPr>
                <p:cNvPr id="32" name="îSḷíḋè">
                  <a:extLst>
                    <a:ext uri="{FF2B5EF4-FFF2-40B4-BE49-F238E27FC236}">
                      <a16:creationId xmlns:a16="http://schemas.microsoft.com/office/drawing/2014/main" id="{3C6B8E59-F70C-410B-8CC0-FAE860097B83}"/>
                    </a:ext>
                  </a:extLst>
                </p:cNvPr>
                <p:cNvSpPr/>
                <p:nvPr/>
              </p:nvSpPr>
              <p:spPr bwMode="auto">
                <a:xfrm>
                  <a:off x="1547813" y="3330576"/>
                  <a:ext cx="212725" cy="212725"/>
                </a:xfrm>
                <a:custGeom>
                  <a:avLst/>
                  <a:gdLst>
                    <a:gd name="T0" fmla="*/ 407 w 535"/>
                    <a:gd name="T1" fmla="*/ 408 h 536"/>
                    <a:gd name="T2" fmla="*/ 367 w 535"/>
                    <a:gd name="T3" fmla="*/ 436 h 536"/>
                    <a:gd name="T4" fmla="*/ 330 w 535"/>
                    <a:gd name="T5" fmla="*/ 452 h 536"/>
                    <a:gd name="T6" fmla="*/ 321 w 535"/>
                    <a:gd name="T7" fmla="*/ 465 h 536"/>
                    <a:gd name="T8" fmla="*/ 217 w 535"/>
                    <a:gd name="T9" fmla="*/ 461 h 536"/>
                    <a:gd name="T10" fmla="*/ 199 w 535"/>
                    <a:gd name="T11" fmla="*/ 449 h 536"/>
                    <a:gd name="T12" fmla="*/ 163 w 535"/>
                    <a:gd name="T13" fmla="*/ 432 h 536"/>
                    <a:gd name="T14" fmla="*/ 134 w 535"/>
                    <a:gd name="T15" fmla="*/ 409 h 536"/>
                    <a:gd name="T16" fmla="*/ 82 w 535"/>
                    <a:gd name="T17" fmla="*/ 433 h 536"/>
                    <a:gd name="T18" fmla="*/ 75 w 535"/>
                    <a:gd name="T19" fmla="*/ 316 h 536"/>
                    <a:gd name="T20" fmla="*/ 72 w 535"/>
                    <a:gd name="T21" fmla="*/ 287 h 536"/>
                    <a:gd name="T22" fmla="*/ 72 w 535"/>
                    <a:gd name="T23" fmla="*/ 246 h 536"/>
                    <a:gd name="T24" fmla="*/ 75 w 535"/>
                    <a:gd name="T25" fmla="*/ 217 h 536"/>
                    <a:gd name="T26" fmla="*/ 82 w 535"/>
                    <a:gd name="T27" fmla="*/ 99 h 536"/>
                    <a:gd name="T28" fmla="*/ 134 w 535"/>
                    <a:gd name="T29" fmla="*/ 124 h 536"/>
                    <a:gd name="T30" fmla="*/ 163 w 535"/>
                    <a:gd name="T31" fmla="*/ 101 h 536"/>
                    <a:gd name="T32" fmla="*/ 199 w 535"/>
                    <a:gd name="T33" fmla="*/ 84 h 536"/>
                    <a:gd name="T34" fmla="*/ 217 w 535"/>
                    <a:gd name="T35" fmla="*/ 72 h 536"/>
                    <a:gd name="T36" fmla="*/ 321 w 535"/>
                    <a:gd name="T37" fmla="*/ 68 h 536"/>
                    <a:gd name="T38" fmla="*/ 330 w 535"/>
                    <a:gd name="T39" fmla="*/ 81 h 536"/>
                    <a:gd name="T40" fmla="*/ 367 w 535"/>
                    <a:gd name="T41" fmla="*/ 97 h 536"/>
                    <a:gd name="T42" fmla="*/ 407 w 535"/>
                    <a:gd name="T43" fmla="*/ 124 h 536"/>
                    <a:gd name="T44" fmla="*/ 505 w 535"/>
                    <a:gd name="T45" fmla="*/ 188 h 536"/>
                    <a:gd name="T46" fmla="*/ 458 w 535"/>
                    <a:gd name="T47" fmla="*/ 221 h 536"/>
                    <a:gd name="T48" fmla="*/ 463 w 535"/>
                    <a:gd name="T49" fmla="*/ 256 h 536"/>
                    <a:gd name="T50" fmla="*/ 461 w 535"/>
                    <a:gd name="T51" fmla="*/ 297 h 536"/>
                    <a:gd name="T52" fmla="*/ 462 w 535"/>
                    <a:gd name="T53" fmla="*/ 319 h 536"/>
                    <a:gd name="T54" fmla="*/ 528 w 535"/>
                    <a:gd name="T55" fmla="*/ 329 h 536"/>
                    <a:gd name="T56" fmla="*/ 489 w 535"/>
                    <a:gd name="T57" fmla="*/ 276 h 536"/>
                    <a:gd name="T58" fmla="*/ 486 w 535"/>
                    <a:gd name="T59" fmla="*/ 238 h 536"/>
                    <a:gd name="T60" fmla="*/ 534 w 535"/>
                    <a:gd name="T61" fmla="*/ 197 h 536"/>
                    <a:gd name="T62" fmla="*/ 467 w 535"/>
                    <a:gd name="T63" fmla="*/ 74 h 536"/>
                    <a:gd name="T64" fmla="*/ 455 w 535"/>
                    <a:gd name="T65" fmla="*/ 70 h 536"/>
                    <a:gd name="T66" fmla="*/ 380 w 535"/>
                    <a:gd name="T67" fmla="*/ 74 h 536"/>
                    <a:gd name="T68" fmla="*/ 346 w 535"/>
                    <a:gd name="T69" fmla="*/ 8 h 536"/>
                    <a:gd name="T70" fmla="*/ 205 w 535"/>
                    <a:gd name="T71" fmla="*/ 0 h 536"/>
                    <a:gd name="T72" fmla="*/ 192 w 535"/>
                    <a:gd name="T73" fmla="*/ 13 h 536"/>
                    <a:gd name="T74" fmla="*/ 143 w 535"/>
                    <a:gd name="T75" fmla="*/ 84 h 536"/>
                    <a:gd name="T76" fmla="*/ 74 w 535"/>
                    <a:gd name="T77" fmla="*/ 70 h 536"/>
                    <a:gd name="T78" fmla="*/ 0 w 535"/>
                    <a:gd name="T79" fmla="*/ 191 h 536"/>
                    <a:gd name="T80" fmla="*/ 49 w 535"/>
                    <a:gd name="T81" fmla="*/ 229 h 536"/>
                    <a:gd name="T82" fmla="*/ 46 w 535"/>
                    <a:gd name="T83" fmla="*/ 266 h 536"/>
                    <a:gd name="T84" fmla="*/ 48 w 535"/>
                    <a:gd name="T85" fmla="*/ 303 h 536"/>
                    <a:gd name="T86" fmla="*/ 0 w 535"/>
                    <a:gd name="T87" fmla="*/ 340 h 536"/>
                    <a:gd name="T88" fmla="*/ 73 w 535"/>
                    <a:gd name="T89" fmla="*/ 463 h 536"/>
                    <a:gd name="T90" fmla="*/ 143 w 535"/>
                    <a:gd name="T91" fmla="*/ 449 h 536"/>
                    <a:gd name="T92" fmla="*/ 192 w 535"/>
                    <a:gd name="T93" fmla="*/ 523 h 536"/>
                    <a:gd name="T94" fmla="*/ 205 w 535"/>
                    <a:gd name="T95" fmla="*/ 536 h 536"/>
                    <a:gd name="T96" fmla="*/ 346 w 535"/>
                    <a:gd name="T97" fmla="*/ 528 h 536"/>
                    <a:gd name="T98" fmla="*/ 364 w 535"/>
                    <a:gd name="T99" fmla="*/ 467 h 536"/>
                    <a:gd name="T100" fmla="*/ 409 w 535"/>
                    <a:gd name="T101" fmla="*/ 437 h 536"/>
                    <a:gd name="T102" fmla="*/ 458 w 535"/>
                    <a:gd name="T103" fmla="*/ 463 h 536"/>
                    <a:gd name="T104" fmla="*/ 467 w 535"/>
                    <a:gd name="T105" fmla="*/ 459 h 536"/>
                    <a:gd name="T106" fmla="*/ 535 w 535"/>
                    <a:gd name="T107" fmla="*/ 335 h 5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35" h="536">
                      <a:moveTo>
                        <a:pt x="453" y="433"/>
                      </a:moveTo>
                      <a:lnTo>
                        <a:pt x="414" y="410"/>
                      </a:lnTo>
                      <a:lnTo>
                        <a:pt x="410" y="409"/>
                      </a:lnTo>
                      <a:lnTo>
                        <a:pt x="407" y="408"/>
                      </a:lnTo>
                      <a:lnTo>
                        <a:pt x="403" y="409"/>
                      </a:lnTo>
                      <a:lnTo>
                        <a:pt x="399" y="411"/>
                      </a:lnTo>
                      <a:lnTo>
                        <a:pt x="383" y="424"/>
                      </a:lnTo>
                      <a:lnTo>
                        <a:pt x="367" y="436"/>
                      </a:lnTo>
                      <a:lnTo>
                        <a:pt x="359" y="441"/>
                      </a:lnTo>
                      <a:lnTo>
                        <a:pt x="350" y="446"/>
                      </a:lnTo>
                      <a:lnTo>
                        <a:pt x="340" y="449"/>
                      </a:lnTo>
                      <a:lnTo>
                        <a:pt x="330" y="452"/>
                      </a:lnTo>
                      <a:lnTo>
                        <a:pt x="326" y="454"/>
                      </a:lnTo>
                      <a:lnTo>
                        <a:pt x="323" y="457"/>
                      </a:lnTo>
                      <a:lnTo>
                        <a:pt x="321" y="461"/>
                      </a:lnTo>
                      <a:lnTo>
                        <a:pt x="321" y="465"/>
                      </a:lnTo>
                      <a:lnTo>
                        <a:pt x="321" y="511"/>
                      </a:lnTo>
                      <a:lnTo>
                        <a:pt x="218" y="511"/>
                      </a:lnTo>
                      <a:lnTo>
                        <a:pt x="218" y="465"/>
                      </a:lnTo>
                      <a:lnTo>
                        <a:pt x="217" y="461"/>
                      </a:lnTo>
                      <a:lnTo>
                        <a:pt x="216" y="457"/>
                      </a:lnTo>
                      <a:lnTo>
                        <a:pt x="213" y="454"/>
                      </a:lnTo>
                      <a:lnTo>
                        <a:pt x="208" y="452"/>
                      </a:lnTo>
                      <a:lnTo>
                        <a:pt x="199" y="449"/>
                      </a:lnTo>
                      <a:lnTo>
                        <a:pt x="189" y="446"/>
                      </a:lnTo>
                      <a:lnTo>
                        <a:pt x="180" y="441"/>
                      </a:lnTo>
                      <a:lnTo>
                        <a:pt x="172" y="437"/>
                      </a:lnTo>
                      <a:lnTo>
                        <a:pt x="163" y="432"/>
                      </a:lnTo>
                      <a:lnTo>
                        <a:pt x="155" y="425"/>
                      </a:lnTo>
                      <a:lnTo>
                        <a:pt x="146" y="419"/>
                      </a:lnTo>
                      <a:lnTo>
                        <a:pt x="137" y="411"/>
                      </a:lnTo>
                      <a:lnTo>
                        <a:pt x="134" y="409"/>
                      </a:lnTo>
                      <a:lnTo>
                        <a:pt x="130" y="408"/>
                      </a:lnTo>
                      <a:lnTo>
                        <a:pt x="126" y="409"/>
                      </a:lnTo>
                      <a:lnTo>
                        <a:pt x="122" y="410"/>
                      </a:lnTo>
                      <a:lnTo>
                        <a:pt x="82" y="433"/>
                      </a:lnTo>
                      <a:lnTo>
                        <a:pt x="30" y="344"/>
                      </a:lnTo>
                      <a:lnTo>
                        <a:pt x="70" y="321"/>
                      </a:lnTo>
                      <a:lnTo>
                        <a:pt x="73" y="319"/>
                      </a:lnTo>
                      <a:lnTo>
                        <a:pt x="75" y="316"/>
                      </a:lnTo>
                      <a:lnTo>
                        <a:pt x="75" y="311"/>
                      </a:lnTo>
                      <a:lnTo>
                        <a:pt x="75" y="307"/>
                      </a:lnTo>
                      <a:lnTo>
                        <a:pt x="74" y="297"/>
                      </a:lnTo>
                      <a:lnTo>
                        <a:pt x="72" y="287"/>
                      </a:lnTo>
                      <a:lnTo>
                        <a:pt x="72" y="277"/>
                      </a:lnTo>
                      <a:lnTo>
                        <a:pt x="71" y="266"/>
                      </a:lnTo>
                      <a:lnTo>
                        <a:pt x="72" y="257"/>
                      </a:lnTo>
                      <a:lnTo>
                        <a:pt x="72" y="246"/>
                      </a:lnTo>
                      <a:lnTo>
                        <a:pt x="74" y="236"/>
                      </a:lnTo>
                      <a:lnTo>
                        <a:pt x="75" y="226"/>
                      </a:lnTo>
                      <a:lnTo>
                        <a:pt x="76" y="221"/>
                      </a:lnTo>
                      <a:lnTo>
                        <a:pt x="75" y="217"/>
                      </a:lnTo>
                      <a:lnTo>
                        <a:pt x="73" y="214"/>
                      </a:lnTo>
                      <a:lnTo>
                        <a:pt x="70" y="212"/>
                      </a:lnTo>
                      <a:lnTo>
                        <a:pt x="30" y="188"/>
                      </a:lnTo>
                      <a:lnTo>
                        <a:pt x="82" y="99"/>
                      </a:lnTo>
                      <a:lnTo>
                        <a:pt x="122" y="122"/>
                      </a:lnTo>
                      <a:lnTo>
                        <a:pt x="126" y="124"/>
                      </a:lnTo>
                      <a:lnTo>
                        <a:pt x="130" y="124"/>
                      </a:lnTo>
                      <a:lnTo>
                        <a:pt x="134" y="124"/>
                      </a:lnTo>
                      <a:lnTo>
                        <a:pt x="137" y="121"/>
                      </a:lnTo>
                      <a:lnTo>
                        <a:pt x="146" y="114"/>
                      </a:lnTo>
                      <a:lnTo>
                        <a:pt x="155" y="106"/>
                      </a:lnTo>
                      <a:lnTo>
                        <a:pt x="163" y="101"/>
                      </a:lnTo>
                      <a:lnTo>
                        <a:pt x="172" y="96"/>
                      </a:lnTo>
                      <a:lnTo>
                        <a:pt x="180" y="91"/>
                      </a:lnTo>
                      <a:lnTo>
                        <a:pt x="189" y="87"/>
                      </a:lnTo>
                      <a:lnTo>
                        <a:pt x="199" y="84"/>
                      </a:lnTo>
                      <a:lnTo>
                        <a:pt x="208" y="81"/>
                      </a:lnTo>
                      <a:lnTo>
                        <a:pt x="213" y="78"/>
                      </a:lnTo>
                      <a:lnTo>
                        <a:pt x="215" y="76"/>
                      </a:lnTo>
                      <a:lnTo>
                        <a:pt x="217" y="72"/>
                      </a:lnTo>
                      <a:lnTo>
                        <a:pt x="218" y="68"/>
                      </a:lnTo>
                      <a:lnTo>
                        <a:pt x="218" y="26"/>
                      </a:lnTo>
                      <a:lnTo>
                        <a:pt x="321" y="26"/>
                      </a:lnTo>
                      <a:lnTo>
                        <a:pt x="321" y="68"/>
                      </a:lnTo>
                      <a:lnTo>
                        <a:pt x="321" y="72"/>
                      </a:lnTo>
                      <a:lnTo>
                        <a:pt x="323" y="76"/>
                      </a:lnTo>
                      <a:lnTo>
                        <a:pt x="326" y="78"/>
                      </a:lnTo>
                      <a:lnTo>
                        <a:pt x="330" y="81"/>
                      </a:lnTo>
                      <a:lnTo>
                        <a:pt x="340" y="84"/>
                      </a:lnTo>
                      <a:lnTo>
                        <a:pt x="350" y="87"/>
                      </a:lnTo>
                      <a:lnTo>
                        <a:pt x="360" y="91"/>
                      </a:lnTo>
                      <a:lnTo>
                        <a:pt x="367" y="97"/>
                      </a:lnTo>
                      <a:lnTo>
                        <a:pt x="383" y="107"/>
                      </a:lnTo>
                      <a:lnTo>
                        <a:pt x="399" y="121"/>
                      </a:lnTo>
                      <a:lnTo>
                        <a:pt x="403" y="124"/>
                      </a:lnTo>
                      <a:lnTo>
                        <a:pt x="407" y="124"/>
                      </a:lnTo>
                      <a:lnTo>
                        <a:pt x="410" y="124"/>
                      </a:lnTo>
                      <a:lnTo>
                        <a:pt x="414" y="122"/>
                      </a:lnTo>
                      <a:lnTo>
                        <a:pt x="453" y="99"/>
                      </a:lnTo>
                      <a:lnTo>
                        <a:pt x="505" y="188"/>
                      </a:lnTo>
                      <a:lnTo>
                        <a:pt x="465" y="212"/>
                      </a:lnTo>
                      <a:lnTo>
                        <a:pt x="462" y="214"/>
                      </a:lnTo>
                      <a:lnTo>
                        <a:pt x="460" y="217"/>
                      </a:lnTo>
                      <a:lnTo>
                        <a:pt x="458" y="221"/>
                      </a:lnTo>
                      <a:lnTo>
                        <a:pt x="458" y="226"/>
                      </a:lnTo>
                      <a:lnTo>
                        <a:pt x="461" y="235"/>
                      </a:lnTo>
                      <a:lnTo>
                        <a:pt x="462" y="246"/>
                      </a:lnTo>
                      <a:lnTo>
                        <a:pt x="463" y="256"/>
                      </a:lnTo>
                      <a:lnTo>
                        <a:pt x="463" y="266"/>
                      </a:lnTo>
                      <a:lnTo>
                        <a:pt x="463" y="277"/>
                      </a:lnTo>
                      <a:lnTo>
                        <a:pt x="462" y="287"/>
                      </a:lnTo>
                      <a:lnTo>
                        <a:pt x="461" y="297"/>
                      </a:lnTo>
                      <a:lnTo>
                        <a:pt x="458" y="307"/>
                      </a:lnTo>
                      <a:lnTo>
                        <a:pt x="458" y="311"/>
                      </a:lnTo>
                      <a:lnTo>
                        <a:pt x="460" y="316"/>
                      </a:lnTo>
                      <a:lnTo>
                        <a:pt x="462" y="319"/>
                      </a:lnTo>
                      <a:lnTo>
                        <a:pt x="465" y="321"/>
                      </a:lnTo>
                      <a:lnTo>
                        <a:pt x="505" y="344"/>
                      </a:lnTo>
                      <a:lnTo>
                        <a:pt x="453" y="433"/>
                      </a:lnTo>
                      <a:close/>
                      <a:moveTo>
                        <a:pt x="528" y="329"/>
                      </a:moveTo>
                      <a:lnTo>
                        <a:pt x="485" y="303"/>
                      </a:lnTo>
                      <a:lnTo>
                        <a:pt x="486" y="294"/>
                      </a:lnTo>
                      <a:lnTo>
                        <a:pt x="487" y="285"/>
                      </a:lnTo>
                      <a:lnTo>
                        <a:pt x="489" y="276"/>
                      </a:lnTo>
                      <a:lnTo>
                        <a:pt x="489" y="266"/>
                      </a:lnTo>
                      <a:lnTo>
                        <a:pt x="489" y="257"/>
                      </a:lnTo>
                      <a:lnTo>
                        <a:pt x="487" y="248"/>
                      </a:lnTo>
                      <a:lnTo>
                        <a:pt x="486" y="238"/>
                      </a:lnTo>
                      <a:lnTo>
                        <a:pt x="485" y="229"/>
                      </a:lnTo>
                      <a:lnTo>
                        <a:pt x="528" y="205"/>
                      </a:lnTo>
                      <a:lnTo>
                        <a:pt x="531" y="202"/>
                      </a:lnTo>
                      <a:lnTo>
                        <a:pt x="534" y="197"/>
                      </a:lnTo>
                      <a:lnTo>
                        <a:pt x="535" y="192"/>
                      </a:lnTo>
                      <a:lnTo>
                        <a:pt x="533" y="187"/>
                      </a:lnTo>
                      <a:lnTo>
                        <a:pt x="468" y="76"/>
                      </a:lnTo>
                      <a:lnTo>
                        <a:pt x="467" y="74"/>
                      </a:lnTo>
                      <a:lnTo>
                        <a:pt x="465" y="72"/>
                      </a:lnTo>
                      <a:lnTo>
                        <a:pt x="463" y="71"/>
                      </a:lnTo>
                      <a:lnTo>
                        <a:pt x="461" y="70"/>
                      </a:lnTo>
                      <a:lnTo>
                        <a:pt x="455" y="70"/>
                      </a:lnTo>
                      <a:lnTo>
                        <a:pt x="451" y="71"/>
                      </a:lnTo>
                      <a:lnTo>
                        <a:pt x="409" y="96"/>
                      </a:lnTo>
                      <a:lnTo>
                        <a:pt x="395" y="85"/>
                      </a:lnTo>
                      <a:lnTo>
                        <a:pt x="380" y="74"/>
                      </a:lnTo>
                      <a:lnTo>
                        <a:pt x="364" y="66"/>
                      </a:lnTo>
                      <a:lnTo>
                        <a:pt x="347" y="59"/>
                      </a:lnTo>
                      <a:lnTo>
                        <a:pt x="347" y="13"/>
                      </a:lnTo>
                      <a:lnTo>
                        <a:pt x="346" y="8"/>
                      </a:lnTo>
                      <a:lnTo>
                        <a:pt x="342" y="4"/>
                      </a:lnTo>
                      <a:lnTo>
                        <a:pt x="338" y="1"/>
                      </a:lnTo>
                      <a:lnTo>
                        <a:pt x="334" y="0"/>
                      </a:lnTo>
                      <a:lnTo>
                        <a:pt x="205" y="0"/>
                      </a:lnTo>
                      <a:lnTo>
                        <a:pt x="200" y="1"/>
                      </a:lnTo>
                      <a:lnTo>
                        <a:pt x="196" y="4"/>
                      </a:lnTo>
                      <a:lnTo>
                        <a:pt x="193" y="8"/>
                      </a:lnTo>
                      <a:lnTo>
                        <a:pt x="192" y="13"/>
                      </a:lnTo>
                      <a:lnTo>
                        <a:pt x="192" y="59"/>
                      </a:lnTo>
                      <a:lnTo>
                        <a:pt x="175" y="66"/>
                      </a:lnTo>
                      <a:lnTo>
                        <a:pt x="159" y="73"/>
                      </a:lnTo>
                      <a:lnTo>
                        <a:pt x="143" y="84"/>
                      </a:lnTo>
                      <a:lnTo>
                        <a:pt x="127" y="96"/>
                      </a:lnTo>
                      <a:lnTo>
                        <a:pt x="84" y="71"/>
                      </a:lnTo>
                      <a:lnTo>
                        <a:pt x="78" y="70"/>
                      </a:lnTo>
                      <a:lnTo>
                        <a:pt x="74" y="70"/>
                      </a:lnTo>
                      <a:lnTo>
                        <a:pt x="70" y="72"/>
                      </a:lnTo>
                      <a:lnTo>
                        <a:pt x="67" y="76"/>
                      </a:lnTo>
                      <a:lnTo>
                        <a:pt x="2" y="187"/>
                      </a:lnTo>
                      <a:lnTo>
                        <a:pt x="0" y="191"/>
                      </a:lnTo>
                      <a:lnTo>
                        <a:pt x="0" y="197"/>
                      </a:lnTo>
                      <a:lnTo>
                        <a:pt x="2" y="201"/>
                      </a:lnTo>
                      <a:lnTo>
                        <a:pt x="6" y="205"/>
                      </a:lnTo>
                      <a:lnTo>
                        <a:pt x="49" y="229"/>
                      </a:lnTo>
                      <a:lnTo>
                        <a:pt x="47" y="238"/>
                      </a:lnTo>
                      <a:lnTo>
                        <a:pt x="46" y="248"/>
                      </a:lnTo>
                      <a:lnTo>
                        <a:pt x="46" y="257"/>
                      </a:lnTo>
                      <a:lnTo>
                        <a:pt x="46" y="266"/>
                      </a:lnTo>
                      <a:lnTo>
                        <a:pt x="46" y="276"/>
                      </a:lnTo>
                      <a:lnTo>
                        <a:pt x="46" y="285"/>
                      </a:lnTo>
                      <a:lnTo>
                        <a:pt x="47" y="294"/>
                      </a:lnTo>
                      <a:lnTo>
                        <a:pt x="48" y="303"/>
                      </a:lnTo>
                      <a:lnTo>
                        <a:pt x="6" y="329"/>
                      </a:lnTo>
                      <a:lnTo>
                        <a:pt x="2" y="332"/>
                      </a:lnTo>
                      <a:lnTo>
                        <a:pt x="0" y="335"/>
                      </a:lnTo>
                      <a:lnTo>
                        <a:pt x="0" y="340"/>
                      </a:lnTo>
                      <a:lnTo>
                        <a:pt x="1" y="345"/>
                      </a:lnTo>
                      <a:lnTo>
                        <a:pt x="65" y="457"/>
                      </a:lnTo>
                      <a:lnTo>
                        <a:pt x="69" y="461"/>
                      </a:lnTo>
                      <a:lnTo>
                        <a:pt x="73" y="463"/>
                      </a:lnTo>
                      <a:lnTo>
                        <a:pt x="78" y="463"/>
                      </a:lnTo>
                      <a:lnTo>
                        <a:pt x="83" y="461"/>
                      </a:lnTo>
                      <a:lnTo>
                        <a:pt x="127" y="437"/>
                      </a:lnTo>
                      <a:lnTo>
                        <a:pt x="143" y="449"/>
                      </a:lnTo>
                      <a:lnTo>
                        <a:pt x="159" y="459"/>
                      </a:lnTo>
                      <a:lnTo>
                        <a:pt x="175" y="467"/>
                      </a:lnTo>
                      <a:lnTo>
                        <a:pt x="192" y="474"/>
                      </a:lnTo>
                      <a:lnTo>
                        <a:pt x="192" y="523"/>
                      </a:lnTo>
                      <a:lnTo>
                        <a:pt x="193" y="528"/>
                      </a:lnTo>
                      <a:lnTo>
                        <a:pt x="196" y="533"/>
                      </a:lnTo>
                      <a:lnTo>
                        <a:pt x="200" y="535"/>
                      </a:lnTo>
                      <a:lnTo>
                        <a:pt x="205" y="536"/>
                      </a:lnTo>
                      <a:lnTo>
                        <a:pt x="334" y="536"/>
                      </a:lnTo>
                      <a:lnTo>
                        <a:pt x="338" y="535"/>
                      </a:lnTo>
                      <a:lnTo>
                        <a:pt x="342" y="533"/>
                      </a:lnTo>
                      <a:lnTo>
                        <a:pt x="346" y="528"/>
                      </a:lnTo>
                      <a:lnTo>
                        <a:pt x="347" y="523"/>
                      </a:lnTo>
                      <a:lnTo>
                        <a:pt x="347" y="474"/>
                      </a:lnTo>
                      <a:lnTo>
                        <a:pt x="355" y="470"/>
                      </a:lnTo>
                      <a:lnTo>
                        <a:pt x="364" y="467"/>
                      </a:lnTo>
                      <a:lnTo>
                        <a:pt x="373" y="463"/>
                      </a:lnTo>
                      <a:lnTo>
                        <a:pt x="380" y="459"/>
                      </a:lnTo>
                      <a:lnTo>
                        <a:pt x="395" y="449"/>
                      </a:lnTo>
                      <a:lnTo>
                        <a:pt x="409" y="437"/>
                      </a:lnTo>
                      <a:lnTo>
                        <a:pt x="452" y="461"/>
                      </a:lnTo>
                      <a:lnTo>
                        <a:pt x="454" y="463"/>
                      </a:lnTo>
                      <a:lnTo>
                        <a:pt x="456" y="463"/>
                      </a:lnTo>
                      <a:lnTo>
                        <a:pt x="458" y="463"/>
                      </a:lnTo>
                      <a:lnTo>
                        <a:pt x="462" y="462"/>
                      </a:lnTo>
                      <a:lnTo>
                        <a:pt x="464" y="462"/>
                      </a:lnTo>
                      <a:lnTo>
                        <a:pt x="466" y="461"/>
                      </a:lnTo>
                      <a:lnTo>
                        <a:pt x="467" y="459"/>
                      </a:lnTo>
                      <a:lnTo>
                        <a:pt x="469" y="457"/>
                      </a:lnTo>
                      <a:lnTo>
                        <a:pt x="533" y="345"/>
                      </a:lnTo>
                      <a:lnTo>
                        <a:pt x="535" y="340"/>
                      </a:lnTo>
                      <a:lnTo>
                        <a:pt x="535" y="335"/>
                      </a:lnTo>
                      <a:lnTo>
                        <a:pt x="533" y="332"/>
                      </a:lnTo>
                      <a:lnTo>
                        <a:pt x="528" y="32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  <p:sp>
              <p:nvSpPr>
                <p:cNvPr id="33" name="íṧ1íďê">
                  <a:extLst>
                    <a:ext uri="{FF2B5EF4-FFF2-40B4-BE49-F238E27FC236}">
                      <a16:creationId xmlns:a16="http://schemas.microsoft.com/office/drawing/2014/main" id="{10AAD074-8663-4495-93F9-CE376C565964}"/>
                    </a:ext>
                  </a:extLst>
                </p:cNvPr>
                <p:cNvSpPr/>
                <p:nvPr/>
              </p:nvSpPr>
              <p:spPr bwMode="auto">
                <a:xfrm>
                  <a:off x="1727201" y="3240088"/>
                  <a:ext cx="122238" cy="125413"/>
                </a:xfrm>
                <a:custGeom>
                  <a:avLst/>
                  <a:gdLst>
                    <a:gd name="T0" fmla="*/ 235 w 308"/>
                    <a:gd name="T1" fmla="*/ 227 h 315"/>
                    <a:gd name="T2" fmla="*/ 223 w 308"/>
                    <a:gd name="T3" fmla="*/ 229 h 315"/>
                    <a:gd name="T4" fmla="*/ 195 w 308"/>
                    <a:gd name="T5" fmla="*/ 248 h 315"/>
                    <a:gd name="T6" fmla="*/ 178 w 308"/>
                    <a:gd name="T7" fmla="*/ 257 h 315"/>
                    <a:gd name="T8" fmla="*/ 176 w 308"/>
                    <a:gd name="T9" fmla="*/ 289 h 315"/>
                    <a:gd name="T10" fmla="*/ 136 w 308"/>
                    <a:gd name="T11" fmla="*/ 260 h 315"/>
                    <a:gd name="T12" fmla="*/ 129 w 308"/>
                    <a:gd name="T13" fmla="*/ 253 h 315"/>
                    <a:gd name="T14" fmla="*/ 95 w 308"/>
                    <a:gd name="T15" fmla="*/ 237 h 315"/>
                    <a:gd name="T16" fmla="*/ 79 w 308"/>
                    <a:gd name="T17" fmla="*/ 226 h 315"/>
                    <a:gd name="T18" fmla="*/ 50 w 308"/>
                    <a:gd name="T19" fmla="*/ 240 h 315"/>
                    <a:gd name="T20" fmla="*/ 55 w 308"/>
                    <a:gd name="T21" fmla="*/ 192 h 315"/>
                    <a:gd name="T22" fmla="*/ 58 w 308"/>
                    <a:gd name="T23" fmla="*/ 180 h 315"/>
                    <a:gd name="T24" fmla="*/ 56 w 308"/>
                    <a:gd name="T25" fmla="*/ 145 h 315"/>
                    <a:gd name="T26" fmla="*/ 57 w 308"/>
                    <a:gd name="T27" fmla="*/ 126 h 315"/>
                    <a:gd name="T28" fmla="*/ 31 w 308"/>
                    <a:gd name="T29" fmla="*/ 108 h 315"/>
                    <a:gd name="T30" fmla="*/ 76 w 308"/>
                    <a:gd name="T31" fmla="*/ 87 h 315"/>
                    <a:gd name="T32" fmla="*/ 87 w 308"/>
                    <a:gd name="T33" fmla="*/ 84 h 315"/>
                    <a:gd name="T34" fmla="*/ 117 w 308"/>
                    <a:gd name="T35" fmla="*/ 66 h 315"/>
                    <a:gd name="T36" fmla="*/ 135 w 308"/>
                    <a:gd name="T37" fmla="*/ 57 h 315"/>
                    <a:gd name="T38" fmla="*/ 137 w 308"/>
                    <a:gd name="T39" fmla="*/ 25 h 315"/>
                    <a:gd name="T40" fmla="*/ 176 w 308"/>
                    <a:gd name="T41" fmla="*/ 53 h 315"/>
                    <a:gd name="T42" fmla="*/ 185 w 308"/>
                    <a:gd name="T43" fmla="*/ 62 h 315"/>
                    <a:gd name="T44" fmla="*/ 215 w 308"/>
                    <a:gd name="T45" fmla="*/ 77 h 315"/>
                    <a:gd name="T46" fmla="*/ 231 w 308"/>
                    <a:gd name="T47" fmla="*/ 88 h 315"/>
                    <a:gd name="T48" fmla="*/ 259 w 308"/>
                    <a:gd name="T49" fmla="*/ 76 h 315"/>
                    <a:gd name="T50" fmla="*/ 254 w 308"/>
                    <a:gd name="T51" fmla="*/ 123 h 315"/>
                    <a:gd name="T52" fmla="*/ 251 w 308"/>
                    <a:gd name="T53" fmla="*/ 134 h 315"/>
                    <a:gd name="T54" fmla="*/ 253 w 308"/>
                    <a:gd name="T55" fmla="*/ 169 h 315"/>
                    <a:gd name="T56" fmla="*/ 252 w 308"/>
                    <a:gd name="T57" fmla="*/ 188 h 315"/>
                    <a:gd name="T58" fmla="*/ 278 w 308"/>
                    <a:gd name="T59" fmla="*/ 207 h 315"/>
                    <a:gd name="T60" fmla="*/ 278 w 308"/>
                    <a:gd name="T61" fmla="*/ 178 h 315"/>
                    <a:gd name="T62" fmla="*/ 279 w 308"/>
                    <a:gd name="T63" fmla="*/ 148 h 315"/>
                    <a:gd name="T64" fmla="*/ 304 w 308"/>
                    <a:gd name="T65" fmla="*/ 123 h 315"/>
                    <a:gd name="T66" fmla="*/ 308 w 308"/>
                    <a:gd name="T67" fmla="*/ 116 h 315"/>
                    <a:gd name="T68" fmla="*/ 275 w 308"/>
                    <a:gd name="T69" fmla="*/ 51 h 315"/>
                    <a:gd name="T70" fmla="*/ 269 w 308"/>
                    <a:gd name="T71" fmla="*/ 46 h 315"/>
                    <a:gd name="T72" fmla="*/ 256 w 308"/>
                    <a:gd name="T73" fmla="*/ 46 h 315"/>
                    <a:gd name="T74" fmla="*/ 218 w 308"/>
                    <a:gd name="T75" fmla="*/ 49 h 315"/>
                    <a:gd name="T76" fmla="*/ 202 w 308"/>
                    <a:gd name="T77" fmla="*/ 13 h 315"/>
                    <a:gd name="T78" fmla="*/ 193 w 308"/>
                    <a:gd name="T79" fmla="*/ 2 h 315"/>
                    <a:gd name="T80" fmla="*/ 119 w 308"/>
                    <a:gd name="T81" fmla="*/ 2 h 315"/>
                    <a:gd name="T82" fmla="*/ 112 w 308"/>
                    <a:gd name="T83" fmla="*/ 13 h 315"/>
                    <a:gd name="T84" fmla="*/ 93 w 308"/>
                    <a:gd name="T85" fmla="*/ 50 h 315"/>
                    <a:gd name="T86" fmla="*/ 52 w 308"/>
                    <a:gd name="T87" fmla="*/ 46 h 315"/>
                    <a:gd name="T88" fmla="*/ 37 w 308"/>
                    <a:gd name="T89" fmla="*/ 47 h 315"/>
                    <a:gd name="T90" fmla="*/ 1 w 308"/>
                    <a:gd name="T91" fmla="*/ 111 h 315"/>
                    <a:gd name="T92" fmla="*/ 3 w 308"/>
                    <a:gd name="T93" fmla="*/ 121 h 315"/>
                    <a:gd name="T94" fmla="*/ 31 w 308"/>
                    <a:gd name="T95" fmla="*/ 138 h 315"/>
                    <a:gd name="T96" fmla="*/ 30 w 308"/>
                    <a:gd name="T97" fmla="*/ 167 h 315"/>
                    <a:gd name="T98" fmla="*/ 4 w 308"/>
                    <a:gd name="T99" fmla="*/ 193 h 315"/>
                    <a:gd name="T100" fmla="*/ 1 w 308"/>
                    <a:gd name="T101" fmla="*/ 199 h 315"/>
                    <a:gd name="T102" fmla="*/ 34 w 308"/>
                    <a:gd name="T103" fmla="*/ 263 h 315"/>
                    <a:gd name="T104" fmla="*/ 46 w 308"/>
                    <a:gd name="T105" fmla="*/ 270 h 315"/>
                    <a:gd name="T106" fmla="*/ 85 w 308"/>
                    <a:gd name="T107" fmla="*/ 259 h 315"/>
                    <a:gd name="T108" fmla="*/ 112 w 308"/>
                    <a:gd name="T109" fmla="*/ 274 h 315"/>
                    <a:gd name="T110" fmla="*/ 116 w 308"/>
                    <a:gd name="T111" fmla="*/ 311 h 315"/>
                    <a:gd name="T112" fmla="*/ 189 w 308"/>
                    <a:gd name="T113" fmla="*/ 315 h 315"/>
                    <a:gd name="T114" fmla="*/ 201 w 308"/>
                    <a:gd name="T115" fmla="*/ 306 h 315"/>
                    <a:gd name="T116" fmla="*/ 210 w 308"/>
                    <a:gd name="T117" fmla="*/ 270 h 315"/>
                    <a:gd name="T118" fmla="*/ 234 w 308"/>
                    <a:gd name="T119" fmla="*/ 255 h 315"/>
                    <a:gd name="T120" fmla="*/ 267 w 308"/>
                    <a:gd name="T121" fmla="*/ 270 h 315"/>
                    <a:gd name="T122" fmla="*/ 307 w 308"/>
                    <a:gd name="T123" fmla="*/ 208 h 315"/>
                    <a:gd name="T124" fmla="*/ 306 w 308"/>
                    <a:gd name="T125" fmla="*/ 194 h 3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08" h="315">
                      <a:moveTo>
                        <a:pt x="260" y="240"/>
                      </a:moveTo>
                      <a:lnTo>
                        <a:pt x="239" y="228"/>
                      </a:lnTo>
                      <a:lnTo>
                        <a:pt x="235" y="227"/>
                      </a:lnTo>
                      <a:lnTo>
                        <a:pt x="231" y="226"/>
                      </a:lnTo>
                      <a:lnTo>
                        <a:pt x="227" y="227"/>
                      </a:lnTo>
                      <a:lnTo>
                        <a:pt x="223" y="229"/>
                      </a:lnTo>
                      <a:lnTo>
                        <a:pt x="215" y="237"/>
                      </a:lnTo>
                      <a:lnTo>
                        <a:pt x="205" y="243"/>
                      </a:lnTo>
                      <a:lnTo>
                        <a:pt x="195" y="248"/>
                      </a:lnTo>
                      <a:lnTo>
                        <a:pt x="185" y="253"/>
                      </a:lnTo>
                      <a:lnTo>
                        <a:pt x="181" y="255"/>
                      </a:lnTo>
                      <a:lnTo>
                        <a:pt x="178" y="257"/>
                      </a:lnTo>
                      <a:lnTo>
                        <a:pt x="177" y="260"/>
                      </a:lnTo>
                      <a:lnTo>
                        <a:pt x="176" y="265"/>
                      </a:lnTo>
                      <a:lnTo>
                        <a:pt x="176" y="289"/>
                      </a:lnTo>
                      <a:lnTo>
                        <a:pt x="137" y="289"/>
                      </a:lnTo>
                      <a:lnTo>
                        <a:pt x="137" y="265"/>
                      </a:lnTo>
                      <a:lnTo>
                        <a:pt x="136" y="260"/>
                      </a:lnTo>
                      <a:lnTo>
                        <a:pt x="135" y="257"/>
                      </a:lnTo>
                      <a:lnTo>
                        <a:pt x="132" y="255"/>
                      </a:lnTo>
                      <a:lnTo>
                        <a:pt x="129" y="253"/>
                      </a:lnTo>
                      <a:lnTo>
                        <a:pt x="117" y="248"/>
                      </a:lnTo>
                      <a:lnTo>
                        <a:pt x="105" y="243"/>
                      </a:lnTo>
                      <a:lnTo>
                        <a:pt x="95" y="237"/>
                      </a:lnTo>
                      <a:lnTo>
                        <a:pt x="87" y="229"/>
                      </a:lnTo>
                      <a:lnTo>
                        <a:pt x="84" y="227"/>
                      </a:lnTo>
                      <a:lnTo>
                        <a:pt x="79" y="226"/>
                      </a:lnTo>
                      <a:lnTo>
                        <a:pt x="76" y="227"/>
                      </a:lnTo>
                      <a:lnTo>
                        <a:pt x="72" y="228"/>
                      </a:lnTo>
                      <a:lnTo>
                        <a:pt x="50" y="240"/>
                      </a:lnTo>
                      <a:lnTo>
                        <a:pt x="30" y="207"/>
                      </a:lnTo>
                      <a:lnTo>
                        <a:pt x="51" y="194"/>
                      </a:lnTo>
                      <a:lnTo>
                        <a:pt x="55" y="192"/>
                      </a:lnTo>
                      <a:lnTo>
                        <a:pt x="57" y="188"/>
                      </a:lnTo>
                      <a:lnTo>
                        <a:pt x="58" y="184"/>
                      </a:lnTo>
                      <a:lnTo>
                        <a:pt x="58" y="180"/>
                      </a:lnTo>
                      <a:lnTo>
                        <a:pt x="56" y="168"/>
                      </a:lnTo>
                      <a:lnTo>
                        <a:pt x="55" y="157"/>
                      </a:lnTo>
                      <a:lnTo>
                        <a:pt x="56" y="145"/>
                      </a:lnTo>
                      <a:lnTo>
                        <a:pt x="58" y="134"/>
                      </a:lnTo>
                      <a:lnTo>
                        <a:pt x="58" y="130"/>
                      </a:lnTo>
                      <a:lnTo>
                        <a:pt x="57" y="126"/>
                      </a:lnTo>
                      <a:lnTo>
                        <a:pt x="55" y="123"/>
                      </a:lnTo>
                      <a:lnTo>
                        <a:pt x="51" y="120"/>
                      </a:lnTo>
                      <a:lnTo>
                        <a:pt x="31" y="108"/>
                      </a:lnTo>
                      <a:lnTo>
                        <a:pt x="50" y="73"/>
                      </a:lnTo>
                      <a:lnTo>
                        <a:pt x="72" y="86"/>
                      </a:lnTo>
                      <a:lnTo>
                        <a:pt x="76" y="87"/>
                      </a:lnTo>
                      <a:lnTo>
                        <a:pt x="79" y="87"/>
                      </a:lnTo>
                      <a:lnTo>
                        <a:pt x="84" y="86"/>
                      </a:lnTo>
                      <a:lnTo>
                        <a:pt x="87" y="84"/>
                      </a:lnTo>
                      <a:lnTo>
                        <a:pt x="95" y="78"/>
                      </a:lnTo>
                      <a:lnTo>
                        <a:pt x="105" y="71"/>
                      </a:lnTo>
                      <a:lnTo>
                        <a:pt x="117" y="66"/>
                      </a:lnTo>
                      <a:lnTo>
                        <a:pt x="129" y="62"/>
                      </a:lnTo>
                      <a:lnTo>
                        <a:pt x="132" y="59"/>
                      </a:lnTo>
                      <a:lnTo>
                        <a:pt x="135" y="57"/>
                      </a:lnTo>
                      <a:lnTo>
                        <a:pt x="136" y="53"/>
                      </a:lnTo>
                      <a:lnTo>
                        <a:pt x="137" y="50"/>
                      </a:lnTo>
                      <a:lnTo>
                        <a:pt x="137" y="25"/>
                      </a:lnTo>
                      <a:lnTo>
                        <a:pt x="176" y="25"/>
                      </a:lnTo>
                      <a:lnTo>
                        <a:pt x="176" y="50"/>
                      </a:lnTo>
                      <a:lnTo>
                        <a:pt x="176" y="53"/>
                      </a:lnTo>
                      <a:lnTo>
                        <a:pt x="178" y="57"/>
                      </a:lnTo>
                      <a:lnTo>
                        <a:pt x="181" y="59"/>
                      </a:lnTo>
                      <a:lnTo>
                        <a:pt x="185" y="62"/>
                      </a:lnTo>
                      <a:lnTo>
                        <a:pt x="195" y="66"/>
                      </a:lnTo>
                      <a:lnTo>
                        <a:pt x="205" y="71"/>
                      </a:lnTo>
                      <a:lnTo>
                        <a:pt x="215" y="77"/>
                      </a:lnTo>
                      <a:lnTo>
                        <a:pt x="223" y="84"/>
                      </a:lnTo>
                      <a:lnTo>
                        <a:pt x="227" y="87"/>
                      </a:lnTo>
                      <a:lnTo>
                        <a:pt x="231" y="88"/>
                      </a:lnTo>
                      <a:lnTo>
                        <a:pt x="235" y="88"/>
                      </a:lnTo>
                      <a:lnTo>
                        <a:pt x="239" y="86"/>
                      </a:lnTo>
                      <a:lnTo>
                        <a:pt x="259" y="76"/>
                      </a:lnTo>
                      <a:lnTo>
                        <a:pt x="278" y="108"/>
                      </a:lnTo>
                      <a:lnTo>
                        <a:pt x="258" y="120"/>
                      </a:lnTo>
                      <a:lnTo>
                        <a:pt x="254" y="123"/>
                      </a:lnTo>
                      <a:lnTo>
                        <a:pt x="252" y="126"/>
                      </a:lnTo>
                      <a:lnTo>
                        <a:pt x="251" y="130"/>
                      </a:lnTo>
                      <a:lnTo>
                        <a:pt x="251" y="134"/>
                      </a:lnTo>
                      <a:lnTo>
                        <a:pt x="253" y="145"/>
                      </a:lnTo>
                      <a:lnTo>
                        <a:pt x="254" y="157"/>
                      </a:lnTo>
                      <a:lnTo>
                        <a:pt x="253" y="169"/>
                      </a:lnTo>
                      <a:lnTo>
                        <a:pt x="251" y="180"/>
                      </a:lnTo>
                      <a:lnTo>
                        <a:pt x="251" y="184"/>
                      </a:lnTo>
                      <a:lnTo>
                        <a:pt x="252" y="188"/>
                      </a:lnTo>
                      <a:lnTo>
                        <a:pt x="254" y="192"/>
                      </a:lnTo>
                      <a:lnTo>
                        <a:pt x="258" y="194"/>
                      </a:lnTo>
                      <a:lnTo>
                        <a:pt x="278" y="207"/>
                      </a:lnTo>
                      <a:lnTo>
                        <a:pt x="260" y="240"/>
                      </a:lnTo>
                      <a:close/>
                      <a:moveTo>
                        <a:pt x="302" y="192"/>
                      </a:moveTo>
                      <a:lnTo>
                        <a:pt x="278" y="178"/>
                      </a:lnTo>
                      <a:lnTo>
                        <a:pt x="279" y="167"/>
                      </a:lnTo>
                      <a:lnTo>
                        <a:pt x="279" y="157"/>
                      </a:lnTo>
                      <a:lnTo>
                        <a:pt x="279" y="148"/>
                      </a:lnTo>
                      <a:lnTo>
                        <a:pt x="278" y="138"/>
                      </a:lnTo>
                      <a:lnTo>
                        <a:pt x="302" y="124"/>
                      </a:lnTo>
                      <a:lnTo>
                        <a:pt x="304" y="123"/>
                      </a:lnTo>
                      <a:lnTo>
                        <a:pt x="306" y="121"/>
                      </a:lnTo>
                      <a:lnTo>
                        <a:pt x="307" y="119"/>
                      </a:lnTo>
                      <a:lnTo>
                        <a:pt x="308" y="116"/>
                      </a:lnTo>
                      <a:lnTo>
                        <a:pt x="308" y="111"/>
                      </a:lnTo>
                      <a:lnTo>
                        <a:pt x="306" y="106"/>
                      </a:lnTo>
                      <a:lnTo>
                        <a:pt x="275" y="51"/>
                      </a:lnTo>
                      <a:lnTo>
                        <a:pt x="273" y="49"/>
                      </a:lnTo>
                      <a:lnTo>
                        <a:pt x="271" y="47"/>
                      </a:lnTo>
                      <a:lnTo>
                        <a:pt x="269" y="46"/>
                      </a:lnTo>
                      <a:lnTo>
                        <a:pt x="266" y="44"/>
                      </a:lnTo>
                      <a:lnTo>
                        <a:pt x="262" y="44"/>
                      </a:lnTo>
                      <a:lnTo>
                        <a:pt x="256" y="46"/>
                      </a:lnTo>
                      <a:lnTo>
                        <a:pt x="234" y="59"/>
                      </a:lnTo>
                      <a:lnTo>
                        <a:pt x="226" y="54"/>
                      </a:lnTo>
                      <a:lnTo>
                        <a:pt x="218" y="49"/>
                      </a:lnTo>
                      <a:lnTo>
                        <a:pt x="210" y="44"/>
                      </a:lnTo>
                      <a:lnTo>
                        <a:pt x="202" y="41"/>
                      </a:lnTo>
                      <a:lnTo>
                        <a:pt x="202" y="13"/>
                      </a:lnTo>
                      <a:lnTo>
                        <a:pt x="201" y="8"/>
                      </a:lnTo>
                      <a:lnTo>
                        <a:pt x="197" y="4"/>
                      </a:lnTo>
                      <a:lnTo>
                        <a:pt x="193" y="2"/>
                      </a:lnTo>
                      <a:lnTo>
                        <a:pt x="189" y="0"/>
                      </a:lnTo>
                      <a:lnTo>
                        <a:pt x="124" y="0"/>
                      </a:lnTo>
                      <a:lnTo>
                        <a:pt x="119" y="2"/>
                      </a:lnTo>
                      <a:lnTo>
                        <a:pt x="116" y="4"/>
                      </a:lnTo>
                      <a:lnTo>
                        <a:pt x="113" y="8"/>
                      </a:lnTo>
                      <a:lnTo>
                        <a:pt x="112" y="13"/>
                      </a:lnTo>
                      <a:lnTo>
                        <a:pt x="112" y="41"/>
                      </a:lnTo>
                      <a:lnTo>
                        <a:pt x="102" y="44"/>
                      </a:lnTo>
                      <a:lnTo>
                        <a:pt x="93" y="50"/>
                      </a:lnTo>
                      <a:lnTo>
                        <a:pt x="85" y="54"/>
                      </a:lnTo>
                      <a:lnTo>
                        <a:pt x="77" y="59"/>
                      </a:lnTo>
                      <a:lnTo>
                        <a:pt x="52" y="46"/>
                      </a:lnTo>
                      <a:lnTo>
                        <a:pt x="47" y="44"/>
                      </a:lnTo>
                      <a:lnTo>
                        <a:pt x="43" y="44"/>
                      </a:lnTo>
                      <a:lnTo>
                        <a:pt x="37" y="47"/>
                      </a:lnTo>
                      <a:lnTo>
                        <a:pt x="34" y="51"/>
                      </a:lnTo>
                      <a:lnTo>
                        <a:pt x="2" y="106"/>
                      </a:lnTo>
                      <a:lnTo>
                        <a:pt x="1" y="111"/>
                      </a:lnTo>
                      <a:lnTo>
                        <a:pt x="1" y="116"/>
                      </a:lnTo>
                      <a:lnTo>
                        <a:pt x="2" y="119"/>
                      </a:lnTo>
                      <a:lnTo>
                        <a:pt x="3" y="121"/>
                      </a:lnTo>
                      <a:lnTo>
                        <a:pt x="5" y="123"/>
                      </a:lnTo>
                      <a:lnTo>
                        <a:pt x="7" y="124"/>
                      </a:lnTo>
                      <a:lnTo>
                        <a:pt x="31" y="138"/>
                      </a:lnTo>
                      <a:lnTo>
                        <a:pt x="30" y="148"/>
                      </a:lnTo>
                      <a:lnTo>
                        <a:pt x="29" y="157"/>
                      </a:lnTo>
                      <a:lnTo>
                        <a:pt x="30" y="167"/>
                      </a:lnTo>
                      <a:lnTo>
                        <a:pt x="31" y="178"/>
                      </a:lnTo>
                      <a:lnTo>
                        <a:pt x="6" y="192"/>
                      </a:lnTo>
                      <a:lnTo>
                        <a:pt x="4" y="193"/>
                      </a:lnTo>
                      <a:lnTo>
                        <a:pt x="3" y="194"/>
                      </a:lnTo>
                      <a:lnTo>
                        <a:pt x="2" y="196"/>
                      </a:lnTo>
                      <a:lnTo>
                        <a:pt x="1" y="199"/>
                      </a:lnTo>
                      <a:lnTo>
                        <a:pt x="0" y="203"/>
                      </a:lnTo>
                      <a:lnTo>
                        <a:pt x="2" y="208"/>
                      </a:lnTo>
                      <a:lnTo>
                        <a:pt x="34" y="263"/>
                      </a:lnTo>
                      <a:lnTo>
                        <a:pt x="37" y="268"/>
                      </a:lnTo>
                      <a:lnTo>
                        <a:pt x="42" y="270"/>
                      </a:lnTo>
                      <a:lnTo>
                        <a:pt x="46" y="270"/>
                      </a:lnTo>
                      <a:lnTo>
                        <a:pt x="51" y="269"/>
                      </a:lnTo>
                      <a:lnTo>
                        <a:pt x="77" y="254"/>
                      </a:lnTo>
                      <a:lnTo>
                        <a:pt x="85" y="259"/>
                      </a:lnTo>
                      <a:lnTo>
                        <a:pt x="93" y="266"/>
                      </a:lnTo>
                      <a:lnTo>
                        <a:pt x="102" y="270"/>
                      </a:lnTo>
                      <a:lnTo>
                        <a:pt x="112" y="274"/>
                      </a:lnTo>
                      <a:lnTo>
                        <a:pt x="112" y="302"/>
                      </a:lnTo>
                      <a:lnTo>
                        <a:pt x="113" y="306"/>
                      </a:lnTo>
                      <a:lnTo>
                        <a:pt x="116" y="311"/>
                      </a:lnTo>
                      <a:lnTo>
                        <a:pt x="119" y="314"/>
                      </a:lnTo>
                      <a:lnTo>
                        <a:pt x="124" y="315"/>
                      </a:lnTo>
                      <a:lnTo>
                        <a:pt x="189" y="315"/>
                      </a:lnTo>
                      <a:lnTo>
                        <a:pt x="193" y="314"/>
                      </a:lnTo>
                      <a:lnTo>
                        <a:pt x="197" y="311"/>
                      </a:lnTo>
                      <a:lnTo>
                        <a:pt x="201" y="306"/>
                      </a:lnTo>
                      <a:lnTo>
                        <a:pt x="202" y="302"/>
                      </a:lnTo>
                      <a:lnTo>
                        <a:pt x="202" y="274"/>
                      </a:lnTo>
                      <a:lnTo>
                        <a:pt x="210" y="270"/>
                      </a:lnTo>
                      <a:lnTo>
                        <a:pt x="218" y="266"/>
                      </a:lnTo>
                      <a:lnTo>
                        <a:pt x="226" y="260"/>
                      </a:lnTo>
                      <a:lnTo>
                        <a:pt x="234" y="255"/>
                      </a:lnTo>
                      <a:lnTo>
                        <a:pt x="258" y="268"/>
                      </a:lnTo>
                      <a:lnTo>
                        <a:pt x="262" y="270"/>
                      </a:lnTo>
                      <a:lnTo>
                        <a:pt x="267" y="270"/>
                      </a:lnTo>
                      <a:lnTo>
                        <a:pt x="271" y="268"/>
                      </a:lnTo>
                      <a:lnTo>
                        <a:pt x="275" y="263"/>
                      </a:lnTo>
                      <a:lnTo>
                        <a:pt x="307" y="208"/>
                      </a:lnTo>
                      <a:lnTo>
                        <a:pt x="308" y="202"/>
                      </a:lnTo>
                      <a:lnTo>
                        <a:pt x="308" y="198"/>
                      </a:lnTo>
                      <a:lnTo>
                        <a:pt x="306" y="194"/>
                      </a:lnTo>
                      <a:lnTo>
                        <a:pt x="302" y="19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</p:grpSp>
        </p:grpSp>
        <p:grpSp>
          <p:nvGrpSpPr>
            <p:cNvPr id="13" name="ïşliḋè">
              <a:extLst>
                <a:ext uri="{FF2B5EF4-FFF2-40B4-BE49-F238E27FC236}">
                  <a16:creationId xmlns:a16="http://schemas.microsoft.com/office/drawing/2014/main" id="{420CC234-D25C-4C36-BD7B-D036D71A06E4}"/>
                </a:ext>
              </a:extLst>
            </p:cNvPr>
            <p:cNvGrpSpPr/>
            <p:nvPr/>
          </p:nvGrpSpPr>
          <p:grpSpPr>
            <a:xfrm>
              <a:off x="6895820" y="4707616"/>
              <a:ext cx="952304" cy="594799"/>
              <a:chOff x="5484573" y="5214090"/>
              <a:chExt cx="952304" cy="594799"/>
            </a:xfrm>
          </p:grpSpPr>
          <p:sp>
            <p:nvSpPr>
              <p:cNvPr id="24" name="ïṧļíḓê">
                <a:extLst>
                  <a:ext uri="{FF2B5EF4-FFF2-40B4-BE49-F238E27FC236}">
                    <a16:creationId xmlns:a16="http://schemas.microsoft.com/office/drawing/2014/main" id="{1BAB4F9E-7688-4E34-88AF-8367CF40C736}"/>
                  </a:ext>
                </a:extLst>
              </p:cNvPr>
              <p:cNvSpPr txBox="1"/>
              <p:nvPr/>
            </p:nvSpPr>
            <p:spPr>
              <a:xfrm>
                <a:off x="5484573" y="5470335"/>
                <a:ext cx="952304" cy="33855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Oct-Des</a:t>
                </a:r>
              </a:p>
            </p:txBody>
          </p:sp>
          <p:grpSp>
            <p:nvGrpSpPr>
              <p:cNvPr id="25" name="íśľîḋè">
                <a:extLst>
                  <a:ext uri="{FF2B5EF4-FFF2-40B4-BE49-F238E27FC236}">
                    <a16:creationId xmlns:a16="http://schemas.microsoft.com/office/drawing/2014/main" id="{4326D78E-1F1A-49D9-9ADF-F1A67420250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835421" y="5214090"/>
                <a:ext cx="250608" cy="252000"/>
                <a:chOff x="10455275" y="2498725"/>
                <a:chExt cx="285750" cy="287338"/>
              </a:xfrm>
              <a:solidFill>
                <a:sysClr val="window" lastClr="FFFFFF"/>
              </a:solidFill>
            </p:grpSpPr>
            <p:sp>
              <p:nvSpPr>
                <p:cNvPr id="26" name="íṡ1îḑe">
                  <a:extLst>
                    <a:ext uri="{FF2B5EF4-FFF2-40B4-BE49-F238E27FC236}">
                      <a16:creationId xmlns:a16="http://schemas.microsoft.com/office/drawing/2014/main" id="{5E00211E-C931-47AE-B125-78BA8031193B}"/>
                    </a:ext>
                  </a:extLst>
                </p:cNvPr>
                <p:cNvSpPr/>
                <p:nvPr/>
              </p:nvSpPr>
              <p:spPr bwMode="auto">
                <a:xfrm>
                  <a:off x="10455275" y="2593975"/>
                  <a:ext cx="285750" cy="192088"/>
                </a:xfrm>
                <a:custGeom>
                  <a:avLst/>
                  <a:gdLst>
                    <a:gd name="T0" fmla="*/ 812 w 903"/>
                    <a:gd name="T1" fmla="*/ 30 h 601"/>
                    <a:gd name="T2" fmla="*/ 512 w 903"/>
                    <a:gd name="T3" fmla="*/ 571 h 601"/>
                    <a:gd name="T4" fmla="*/ 602 w 903"/>
                    <a:gd name="T5" fmla="*/ 571 h 601"/>
                    <a:gd name="T6" fmla="*/ 301 w 903"/>
                    <a:gd name="T7" fmla="*/ 210 h 601"/>
                    <a:gd name="T8" fmla="*/ 301 w 903"/>
                    <a:gd name="T9" fmla="*/ 571 h 601"/>
                    <a:gd name="T10" fmla="*/ 181 w 903"/>
                    <a:gd name="T11" fmla="*/ 421 h 601"/>
                    <a:gd name="T12" fmla="*/ 888 w 903"/>
                    <a:gd name="T13" fmla="*/ 571 h 601"/>
                    <a:gd name="T14" fmla="*/ 842 w 903"/>
                    <a:gd name="T15" fmla="*/ 12 h 601"/>
                    <a:gd name="T16" fmla="*/ 838 w 903"/>
                    <a:gd name="T17" fmla="*/ 5 h 601"/>
                    <a:gd name="T18" fmla="*/ 830 w 903"/>
                    <a:gd name="T19" fmla="*/ 0 h 601"/>
                    <a:gd name="T20" fmla="*/ 704 w 903"/>
                    <a:gd name="T21" fmla="*/ 0 h 601"/>
                    <a:gd name="T22" fmla="*/ 696 w 903"/>
                    <a:gd name="T23" fmla="*/ 5 h 601"/>
                    <a:gd name="T24" fmla="*/ 692 w 903"/>
                    <a:gd name="T25" fmla="*/ 12 h 601"/>
                    <a:gd name="T26" fmla="*/ 632 w 903"/>
                    <a:gd name="T27" fmla="*/ 571 h 601"/>
                    <a:gd name="T28" fmla="*/ 631 w 903"/>
                    <a:gd name="T29" fmla="*/ 280 h 601"/>
                    <a:gd name="T30" fmla="*/ 626 w 903"/>
                    <a:gd name="T31" fmla="*/ 274 h 601"/>
                    <a:gd name="T32" fmla="*/ 617 w 903"/>
                    <a:gd name="T33" fmla="*/ 270 h 601"/>
                    <a:gd name="T34" fmla="*/ 491 w 903"/>
                    <a:gd name="T35" fmla="*/ 271 h 601"/>
                    <a:gd name="T36" fmla="*/ 484 w 903"/>
                    <a:gd name="T37" fmla="*/ 278 h 601"/>
                    <a:gd name="T38" fmla="*/ 482 w 903"/>
                    <a:gd name="T39" fmla="*/ 285 h 601"/>
                    <a:gd name="T40" fmla="*/ 421 w 903"/>
                    <a:gd name="T41" fmla="*/ 195 h 601"/>
                    <a:gd name="T42" fmla="*/ 419 w 903"/>
                    <a:gd name="T43" fmla="*/ 187 h 601"/>
                    <a:gd name="T44" fmla="*/ 412 w 903"/>
                    <a:gd name="T45" fmla="*/ 181 h 601"/>
                    <a:gd name="T46" fmla="*/ 286 w 903"/>
                    <a:gd name="T47" fmla="*/ 180 h 601"/>
                    <a:gd name="T48" fmla="*/ 277 w 903"/>
                    <a:gd name="T49" fmla="*/ 184 h 601"/>
                    <a:gd name="T50" fmla="*/ 272 w 903"/>
                    <a:gd name="T51" fmla="*/ 190 h 601"/>
                    <a:gd name="T52" fmla="*/ 271 w 903"/>
                    <a:gd name="T53" fmla="*/ 571 h 601"/>
                    <a:gd name="T54" fmla="*/ 211 w 903"/>
                    <a:gd name="T55" fmla="*/ 403 h 601"/>
                    <a:gd name="T56" fmla="*/ 207 w 903"/>
                    <a:gd name="T57" fmla="*/ 396 h 601"/>
                    <a:gd name="T58" fmla="*/ 199 w 903"/>
                    <a:gd name="T59" fmla="*/ 391 h 601"/>
                    <a:gd name="T60" fmla="*/ 73 w 903"/>
                    <a:gd name="T61" fmla="*/ 391 h 601"/>
                    <a:gd name="T62" fmla="*/ 65 w 903"/>
                    <a:gd name="T63" fmla="*/ 396 h 601"/>
                    <a:gd name="T64" fmla="*/ 61 w 903"/>
                    <a:gd name="T65" fmla="*/ 403 h 601"/>
                    <a:gd name="T66" fmla="*/ 16 w 903"/>
                    <a:gd name="T67" fmla="*/ 571 h 601"/>
                    <a:gd name="T68" fmla="*/ 7 w 903"/>
                    <a:gd name="T69" fmla="*/ 573 h 601"/>
                    <a:gd name="T70" fmla="*/ 2 w 903"/>
                    <a:gd name="T71" fmla="*/ 581 h 601"/>
                    <a:gd name="T72" fmla="*/ 1 w 903"/>
                    <a:gd name="T73" fmla="*/ 590 h 601"/>
                    <a:gd name="T74" fmla="*/ 5 w 903"/>
                    <a:gd name="T75" fmla="*/ 597 h 601"/>
                    <a:gd name="T76" fmla="*/ 13 w 903"/>
                    <a:gd name="T77" fmla="*/ 601 h 601"/>
                    <a:gd name="T78" fmla="*/ 196 w 903"/>
                    <a:gd name="T79" fmla="*/ 601 h 601"/>
                    <a:gd name="T80" fmla="*/ 497 w 903"/>
                    <a:gd name="T81" fmla="*/ 601 h 601"/>
                    <a:gd name="T82" fmla="*/ 827 w 903"/>
                    <a:gd name="T83" fmla="*/ 601 h 601"/>
                    <a:gd name="T84" fmla="*/ 893 w 903"/>
                    <a:gd name="T85" fmla="*/ 600 h 601"/>
                    <a:gd name="T86" fmla="*/ 900 w 903"/>
                    <a:gd name="T87" fmla="*/ 595 h 601"/>
                    <a:gd name="T88" fmla="*/ 903 w 903"/>
                    <a:gd name="T89" fmla="*/ 586 h 601"/>
                    <a:gd name="T90" fmla="*/ 900 w 903"/>
                    <a:gd name="T91" fmla="*/ 578 h 601"/>
                    <a:gd name="T92" fmla="*/ 893 w 903"/>
                    <a:gd name="T93" fmla="*/ 572 h 6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903" h="601">
                      <a:moveTo>
                        <a:pt x="722" y="571"/>
                      </a:moveTo>
                      <a:lnTo>
                        <a:pt x="722" y="30"/>
                      </a:lnTo>
                      <a:lnTo>
                        <a:pt x="812" y="30"/>
                      </a:lnTo>
                      <a:lnTo>
                        <a:pt x="812" y="571"/>
                      </a:lnTo>
                      <a:lnTo>
                        <a:pt x="722" y="571"/>
                      </a:lnTo>
                      <a:close/>
                      <a:moveTo>
                        <a:pt x="512" y="571"/>
                      </a:moveTo>
                      <a:lnTo>
                        <a:pt x="512" y="300"/>
                      </a:lnTo>
                      <a:lnTo>
                        <a:pt x="602" y="300"/>
                      </a:lnTo>
                      <a:lnTo>
                        <a:pt x="602" y="571"/>
                      </a:lnTo>
                      <a:lnTo>
                        <a:pt x="512" y="571"/>
                      </a:lnTo>
                      <a:close/>
                      <a:moveTo>
                        <a:pt x="301" y="571"/>
                      </a:moveTo>
                      <a:lnTo>
                        <a:pt x="301" y="210"/>
                      </a:lnTo>
                      <a:lnTo>
                        <a:pt x="391" y="210"/>
                      </a:lnTo>
                      <a:lnTo>
                        <a:pt x="391" y="571"/>
                      </a:lnTo>
                      <a:lnTo>
                        <a:pt x="301" y="571"/>
                      </a:lnTo>
                      <a:close/>
                      <a:moveTo>
                        <a:pt x="91" y="571"/>
                      </a:moveTo>
                      <a:lnTo>
                        <a:pt x="91" y="421"/>
                      </a:lnTo>
                      <a:lnTo>
                        <a:pt x="181" y="421"/>
                      </a:lnTo>
                      <a:lnTo>
                        <a:pt x="181" y="571"/>
                      </a:lnTo>
                      <a:lnTo>
                        <a:pt x="91" y="571"/>
                      </a:lnTo>
                      <a:close/>
                      <a:moveTo>
                        <a:pt x="888" y="571"/>
                      </a:moveTo>
                      <a:lnTo>
                        <a:pt x="842" y="571"/>
                      </a:lnTo>
                      <a:lnTo>
                        <a:pt x="842" y="15"/>
                      </a:lnTo>
                      <a:lnTo>
                        <a:pt x="842" y="12"/>
                      </a:lnTo>
                      <a:lnTo>
                        <a:pt x="841" y="9"/>
                      </a:lnTo>
                      <a:lnTo>
                        <a:pt x="840" y="7"/>
                      </a:lnTo>
                      <a:lnTo>
                        <a:pt x="838" y="5"/>
                      </a:lnTo>
                      <a:lnTo>
                        <a:pt x="836" y="3"/>
                      </a:lnTo>
                      <a:lnTo>
                        <a:pt x="833" y="1"/>
                      </a:lnTo>
                      <a:lnTo>
                        <a:pt x="830" y="0"/>
                      </a:lnTo>
                      <a:lnTo>
                        <a:pt x="827" y="0"/>
                      </a:lnTo>
                      <a:lnTo>
                        <a:pt x="707" y="0"/>
                      </a:lnTo>
                      <a:lnTo>
                        <a:pt x="704" y="0"/>
                      </a:lnTo>
                      <a:lnTo>
                        <a:pt x="702" y="1"/>
                      </a:lnTo>
                      <a:lnTo>
                        <a:pt x="698" y="3"/>
                      </a:lnTo>
                      <a:lnTo>
                        <a:pt x="696" y="5"/>
                      </a:lnTo>
                      <a:lnTo>
                        <a:pt x="694" y="7"/>
                      </a:lnTo>
                      <a:lnTo>
                        <a:pt x="693" y="9"/>
                      </a:lnTo>
                      <a:lnTo>
                        <a:pt x="692" y="12"/>
                      </a:lnTo>
                      <a:lnTo>
                        <a:pt x="692" y="15"/>
                      </a:lnTo>
                      <a:lnTo>
                        <a:pt x="692" y="571"/>
                      </a:lnTo>
                      <a:lnTo>
                        <a:pt x="632" y="571"/>
                      </a:lnTo>
                      <a:lnTo>
                        <a:pt x="632" y="285"/>
                      </a:lnTo>
                      <a:lnTo>
                        <a:pt x="632" y="283"/>
                      </a:lnTo>
                      <a:lnTo>
                        <a:pt x="631" y="280"/>
                      </a:lnTo>
                      <a:lnTo>
                        <a:pt x="630" y="278"/>
                      </a:lnTo>
                      <a:lnTo>
                        <a:pt x="628" y="275"/>
                      </a:lnTo>
                      <a:lnTo>
                        <a:pt x="626" y="274"/>
                      </a:lnTo>
                      <a:lnTo>
                        <a:pt x="622" y="271"/>
                      </a:lnTo>
                      <a:lnTo>
                        <a:pt x="620" y="271"/>
                      </a:lnTo>
                      <a:lnTo>
                        <a:pt x="617" y="270"/>
                      </a:lnTo>
                      <a:lnTo>
                        <a:pt x="497" y="270"/>
                      </a:lnTo>
                      <a:lnTo>
                        <a:pt x="494" y="271"/>
                      </a:lnTo>
                      <a:lnTo>
                        <a:pt x="491" y="271"/>
                      </a:lnTo>
                      <a:lnTo>
                        <a:pt x="488" y="274"/>
                      </a:lnTo>
                      <a:lnTo>
                        <a:pt x="486" y="275"/>
                      </a:lnTo>
                      <a:lnTo>
                        <a:pt x="484" y="278"/>
                      </a:lnTo>
                      <a:lnTo>
                        <a:pt x="483" y="280"/>
                      </a:lnTo>
                      <a:lnTo>
                        <a:pt x="482" y="283"/>
                      </a:lnTo>
                      <a:lnTo>
                        <a:pt x="482" y="285"/>
                      </a:lnTo>
                      <a:lnTo>
                        <a:pt x="482" y="571"/>
                      </a:lnTo>
                      <a:lnTo>
                        <a:pt x="421" y="571"/>
                      </a:lnTo>
                      <a:lnTo>
                        <a:pt x="421" y="195"/>
                      </a:lnTo>
                      <a:lnTo>
                        <a:pt x="421" y="192"/>
                      </a:lnTo>
                      <a:lnTo>
                        <a:pt x="420" y="190"/>
                      </a:lnTo>
                      <a:lnTo>
                        <a:pt x="419" y="187"/>
                      </a:lnTo>
                      <a:lnTo>
                        <a:pt x="417" y="185"/>
                      </a:lnTo>
                      <a:lnTo>
                        <a:pt x="415" y="184"/>
                      </a:lnTo>
                      <a:lnTo>
                        <a:pt x="412" y="181"/>
                      </a:lnTo>
                      <a:lnTo>
                        <a:pt x="409" y="180"/>
                      </a:lnTo>
                      <a:lnTo>
                        <a:pt x="406" y="180"/>
                      </a:lnTo>
                      <a:lnTo>
                        <a:pt x="286" y="180"/>
                      </a:lnTo>
                      <a:lnTo>
                        <a:pt x="283" y="180"/>
                      </a:lnTo>
                      <a:lnTo>
                        <a:pt x="281" y="181"/>
                      </a:lnTo>
                      <a:lnTo>
                        <a:pt x="277" y="184"/>
                      </a:lnTo>
                      <a:lnTo>
                        <a:pt x="275" y="185"/>
                      </a:lnTo>
                      <a:lnTo>
                        <a:pt x="274" y="187"/>
                      </a:lnTo>
                      <a:lnTo>
                        <a:pt x="272" y="190"/>
                      </a:lnTo>
                      <a:lnTo>
                        <a:pt x="271" y="192"/>
                      </a:lnTo>
                      <a:lnTo>
                        <a:pt x="271" y="195"/>
                      </a:lnTo>
                      <a:lnTo>
                        <a:pt x="271" y="571"/>
                      </a:lnTo>
                      <a:lnTo>
                        <a:pt x="211" y="571"/>
                      </a:lnTo>
                      <a:lnTo>
                        <a:pt x="211" y="406"/>
                      </a:lnTo>
                      <a:lnTo>
                        <a:pt x="211" y="403"/>
                      </a:lnTo>
                      <a:lnTo>
                        <a:pt x="210" y="400"/>
                      </a:lnTo>
                      <a:lnTo>
                        <a:pt x="209" y="398"/>
                      </a:lnTo>
                      <a:lnTo>
                        <a:pt x="207" y="396"/>
                      </a:lnTo>
                      <a:lnTo>
                        <a:pt x="205" y="394"/>
                      </a:lnTo>
                      <a:lnTo>
                        <a:pt x="201" y="392"/>
                      </a:lnTo>
                      <a:lnTo>
                        <a:pt x="199" y="391"/>
                      </a:lnTo>
                      <a:lnTo>
                        <a:pt x="196" y="391"/>
                      </a:lnTo>
                      <a:lnTo>
                        <a:pt x="76" y="391"/>
                      </a:lnTo>
                      <a:lnTo>
                        <a:pt x="73" y="391"/>
                      </a:lnTo>
                      <a:lnTo>
                        <a:pt x="70" y="392"/>
                      </a:lnTo>
                      <a:lnTo>
                        <a:pt x="67" y="394"/>
                      </a:lnTo>
                      <a:lnTo>
                        <a:pt x="65" y="396"/>
                      </a:lnTo>
                      <a:lnTo>
                        <a:pt x="63" y="398"/>
                      </a:lnTo>
                      <a:lnTo>
                        <a:pt x="62" y="400"/>
                      </a:lnTo>
                      <a:lnTo>
                        <a:pt x="61" y="403"/>
                      </a:lnTo>
                      <a:lnTo>
                        <a:pt x="61" y="406"/>
                      </a:lnTo>
                      <a:lnTo>
                        <a:pt x="61" y="571"/>
                      </a:lnTo>
                      <a:lnTo>
                        <a:pt x="16" y="571"/>
                      </a:lnTo>
                      <a:lnTo>
                        <a:pt x="13" y="571"/>
                      </a:lnTo>
                      <a:lnTo>
                        <a:pt x="10" y="572"/>
                      </a:lnTo>
                      <a:lnTo>
                        <a:pt x="7" y="573"/>
                      </a:lnTo>
                      <a:lnTo>
                        <a:pt x="5" y="576"/>
                      </a:lnTo>
                      <a:lnTo>
                        <a:pt x="3" y="578"/>
                      </a:lnTo>
                      <a:lnTo>
                        <a:pt x="2" y="581"/>
                      </a:lnTo>
                      <a:lnTo>
                        <a:pt x="1" y="583"/>
                      </a:lnTo>
                      <a:lnTo>
                        <a:pt x="0" y="586"/>
                      </a:lnTo>
                      <a:lnTo>
                        <a:pt x="1" y="590"/>
                      </a:lnTo>
                      <a:lnTo>
                        <a:pt x="2" y="593"/>
                      </a:lnTo>
                      <a:lnTo>
                        <a:pt x="3" y="595"/>
                      </a:lnTo>
                      <a:lnTo>
                        <a:pt x="5" y="597"/>
                      </a:lnTo>
                      <a:lnTo>
                        <a:pt x="7" y="599"/>
                      </a:lnTo>
                      <a:lnTo>
                        <a:pt x="10" y="600"/>
                      </a:lnTo>
                      <a:lnTo>
                        <a:pt x="13" y="601"/>
                      </a:lnTo>
                      <a:lnTo>
                        <a:pt x="16" y="601"/>
                      </a:lnTo>
                      <a:lnTo>
                        <a:pt x="76" y="601"/>
                      </a:lnTo>
                      <a:lnTo>
                        <a:pt x="196" y="601"/>
                      </a:lnTo>
                      <a:lnTo>
                        <a:pt x="286" y="601"/>
                      </a:lnTo>
                      <a:lnTo>
                        <a:pt x="406" y="601"/>
                      </a:lnTo>
                      <a:lnTo>
                        <a:pt x="497" y="601"/>
                      </a:lnTo>
                      <a:lnTo>
                        <a:pt x="617" y="601"/>
                      </a:lnTo>
                      <a:lnTo>
                        <a:pt x="707" y="601"/>
                      </a:lnTo>
                      <a:lnTo>
                        <a:pt x="827" y="601"/>
                      </a:lnTo>
                      <a:lnTo>
                        <a:pt x="888" y="601"/>
                      </a:lnTo>
                      <a:lnTo>
                        <a:pt x="890" y="601"/>
                      </a:lnTo>
                      <a:lnTo>
                        <a:pt x="893" y="600"/>
                      </a:lnTo>
                      <a:lnTo>
                        <a:pt x="896" y="599"/>
                      </a:lnTo>
                      <a:lnTo>
                        <a:pt x="898" y="597"/>
                      </a:lnTo>
                      <a:lnTo>
                        <a:pt x="900" y="595"/>
                      </a:lnTo>
                      <a:lnTo>
                        <a:pt x="901" y="593"/>
                      </a:lnTo>
                      <a:lnTo>
                        <a:pt x="902" y="590"/>
                      </a:lnTo>
                      <a:lnTo>
                        <a:pt x="903" y="586"/>
                      </a:lnTo>
                      <a:lnTo>
                        <a:pt x="902" y="583"/>
                      </a:lnTo>
                      <a:lnTo>
                        <a:pt x="901" y="581"/>
                      </a:lnTo>
                      <a:lnTo>
                        <a:pt x="900" y="578"/>
                      </a:lnTo>
                      <a:lnTo>
                        <a:pt x="898" y="576"/>
                      </a:lnTo>
                      <a:lnTo>
                        <a:pt x="896" y="573"/>
                      </a:lnTo>
                      <a:lnTo>
                        <a:pt x="893" y="572"/>
                      </a:lnTo>
                      <a:lnTo>
                        <a:pt x="890" y="571"/>
                      </a:lnTo>
                      <a:lnTo>
                        <a:pt x="888" y="57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  <p:sp>
              <p:nvSpPr>
                <p:cNvPr id="27" name="íşliḍé">
                  <a:extLst>
                    <a:ext uri="{FF2B5EF4-FFF2-40B4-BE49-F238E27FC236}">
                      <a16:creationId xmlns:a16="http://schemas.microsoft.com/office/drawing/2014/main" id="{2BF96DC2-F4D9-4190-9E6D-1B9075CCE8E5}"/>
                    </a:ext>
                  </a:extLst>
                </p:cNvPr>
                <p:cNvSpPr/>
                <p:nvPr/>
              </p:nvSpPr>
              <p:spPr bwMode="auto">
                <a:xfrm>
                  <a:off x="10474325" y="2498725"/>
                  <a:ext cx="252413" cy="157163"/>
                </a:xfrm>
                <a:custGeom>
                  <a:avLst/>
                  <a:gdLst>
                    <a:gd name="T0" fmla="*/ 83 w 796"/>
                    <a:gd name="T1" fmla="*/ 417 h 496"/>
                    <a:gd name="T2" fmla="*/ 89 w 796"/>
                    <a:gd name="T3" fmla="*/ 431 h 496"/>
                    <a:gd name="T4" fmla="*/ 76 w 796"/>
                    <a:gd name="T5" fmla="*/ 461 h 496"/>
                    <a:gd name="T6" fmla="*/ 43 w 796"/>
                    <a:gd name="T7" fmla="*/ 461 h 496"/>
                    <a:gd name="T8" fmla="*/ 30 w 796"/>
                    <a:gd name="T9" fmla="*/ 430 h 496"/>
                    <a:gd name="T10" fmla="*/ 54 w 796"/>
                    <a:gd name="T11" fmla="*/ 407 h 496"/>
                    <a:gd name="T12" fmla="*/ 302 w 796"/>
                    <a:gd name="T13" fmla="*/ 216 h 496"/>
                    <a:gd name="T14" fmla="*/ 315 w 796"/>
                    <a:gd name="T15" fmla="*/ 247 h 496"/>
                    <a:gd name="T16" fmla="*/ 291 w 796"/>
                    <a:gd name="T17" fmla="*/ 270 h 496"/>
                    <a:gd name="T18" fmla="*/ 260 w 796"/>
                    <a:gd name="T19" fmla="*/ 257 h 496"/>
                    <a:gd name="T20" fmla="*/ 260 w 796"/>
                    <a:gd name="T21" fmla="*/ 224 h 496"/>
                    <a:gd name="T22" fmla="*/ 511 w 796"/>
                    <a:gd name="T23" fmla="*/ 301 h 496"/>
                    <a:gd name="T24" fmla="*/ 530 w 796"/>
                    <a:gd name="T25" fmla="*/ 308 h 496"/>
                    <a:gd name="T26" fmla="*/ 541 w 796"/>
                    <a:gd name="T27" fmla="*/ 331 h 496"/>
                    <a:gd name="T28" fmla="*/ 523 w 796"/>
                    <a:gd name="T29" fmla="*/ 359 h 496"/>
                    <a:gd name="T30" fmla="*/ 490 w 796"/>
                    <a:gd name="T31" fmla="*/ 353 h 496"/>
                    <a:gd name="T32" fmla="*/ 483 w 796"/>
                    <a:gd name="T33" fmla="*/ 320 h 496"/>
                    <a:gd name="T34" fmla="*/ 511 w 796"/>
                    <a:gd name="T35" fmla="*/ 301 h 496"/>
                    <a:gd name="T36" fmla="*/ 757 w 796"/>
                    <a:gd name="T37" fmla="*/ 39 h 496"/>
                    <a:gd name="T38" fmla="*/ 764 w 796"/>
                    <a:gd name="T39" fmla="*/ 72 h 496"/>
                    <a:gd name="T40" fmla="*/ 736 w 796"/>
                    <a:gd name="T41" fmla="*/ 90 h 496"/>
                    <a:gd name="T42" fmla="*/ 708 w 796"/>
                    <a:gd name="T43" fmla="*/ 72 h 496"/>
                    <a:gd name="T44" fmla="*/ 716 w 796"/>
                    <a:gd name="T45" fmla="*/ 39 h 496"/>
                    <a:gd name="T46" fmla="*/ 60 w 796"/>
                    <a:gd name="T47" fmla="*/ 496 h 496"/>
                    <a:gd name="T48" fmla="*/ 93 w 796"/>
                    <a:gd name="T49" fmla="*/ 487 h 496"/>
                    <a:gd name="T50" fmla="*/ 115 w 796"/>
                    <a:gd name="T51" fmla="*/ 460 h 496"/>
                    <a:gd name="T52" fmla="*/ 118 w 796"/>
                    <a:gd name="T53" fmla="*/ 422 h 496"/>
                    <a:gd name="T54" fmla="*/ 276 w 796"/>
                    <a:gd name="T55" fmla="*/ 300 h 496"/>
                    <a:gd name="T56" fmla="*/ 318 w 796"/>
                    <a:gd name="T57" fmla="*/ 291 h 496"/>
                    <a:gd name="T58" fmla="*/ 451 w 796"/>
                    <a:gd name="T59" fmla="*/ 331 h 496"/>
                    <a:gd name="T60" fmla="*/ 461 w 796"/>
                    <a:gd name="T61" fmla="*/ 365 h 496"/>
                    <a:gd name="T62" fmla="*/ 487 w 796"/>
                    <a:gd name="T63" fmla="*/ 387 h 496"/>
                    <a:gd name="T64" fmla="*/ 523 w 796"/>
                    <a:gd name="T65" fmla="*/ 390 h 496"/>
                    <a:gd name="T66" fmla="*/ 554 w 796"/>
                    <a:gd name="T67" fmla="*/ 373 h 496"/>
                    <a:gd name="T68" fmla="*/ 570 w 796"/>
                    <a:gd name="T69" fmla="*/ 343 h 496"/>
                    <a:gd name="T70" fmla="*/ 559 w 796"/>
                    <a:gd name="T71" fmla="*/ 296 h 496"/>
                    <a:gd name="T72" fmla="*/ 742 w 796"/>
                    <a:gd name="T73" fmla="*/ 120 h 496"/>
                    <a:gd name="T74" fmla="*/ 775 w 796"/>
                    <a:gd name="T75" fmla="*/ 106 h 496"/>
                    <a:gd name="T76" fmla="*/ 794 w 796"/>
                    <a:gd name="T77" fmla="*/ 79 h 496"/>
                    <a:gd name="T78" fmla="*/ 794 w 796"/>
                    <a:gd name="T79" fmla="*/ 43 h 496"/>
                    <a:gd name="T80" fmla="*/ 775 w 796"/>
                    <a:gd name="T81" fmla="*/ 14 h 496"/>
                    <a:gd name="T82" fmla="*/ 742 w 796"/>
                    <a:gd name="T83" fmla="*/ 0 h 496"/>
                    <a:gd name="T84" fmla="*/ 708 w 796"/>
                    <a:gd name="T85" fmla="*/ 8 h 496"/>
                    <a:gd name="T86" fmla="*/ 683 w 796"/>
                    <a:gd name="T87" fmla="*/ 31 h 496"/>
                    <a:gd name="T88" fmla="*/ 677 w 796"/>
                    <a:gd name="T89" fmla="*/ 70 h 496"/>
                    <a:gd name="T90" fmla="*/ 524 w 796"/>
                    <a:gd name="T91" fmla="*/ 272 h 496"/>
                    <a:gd name="T92" fmla="*/ 483 w 796"/>
                    <a:gd name="T93" fmla="*/ 278 h 496"/>
                    <a:gd name="T94" fmla="*/ 345 w 796"/>
                    <a:gd name="T95" fmla="*/ 245 h 496"/>
                    <a:gd name="T96" fmla="*/ 339 w 796"/>
                    <a:gd name="T97" fmla="*/ 212 h 496"/>
                    <a:gd name="T98" fmla="*/ 314 w 796"/>
                    <a:gd name="T99" fmla="*/ 188 h 496"/>
                    <a:gd name="T100" fmla="*/ 280 w 796"/>
                    <a:gd name="T101" fmla="*/ 181 h 496"/>
                    <a:gd name="T102" fmla="*/ 247 w 796"/>
                    <a:gd name="T103" fmla="*/ 194 h 496"/>
                    <a:gd name="T104" fmla="*/ 228 w 796"/>
                    <a:gd name="T105" fmla="*/ 223 h 496"/>
                    <a:gd name="T106" fmla="*/ 229 w 796"/>
                    <a:gd name="T107" fmla="*/ 262 h 496"/>
                    <a:gd name="T108" fmla="*/ 60 w 796"/>
                    <a:gd name="T109" fmla="*/ 376 h 496"/>
                    <a:gd name="T110" fmla="*/ 26 w 796"/>
                    <a:gd name="T111" fmla="*/ 387 h 496"/>
                    <a:gd name="T112" fmla="*/ 4 w 796"/>
                    <a:gd name="T113" fmla="*/ 413 h 496"/>
                    <a:gd name="T114" fmla="*/ 1 w 796"/>
                    <a:gd name="T115" fmla="*/ 448 h 496"/>
                    <a:gd name="T116" fmla="*/ 17 w 796"/>
                    <a:gd name="T117" fmla="*/ 479 h 496"/>
                    <a:gd name="T118" fmla="*/ 47 w 796"/>
                    <a:gd name="T119" fmla="*/ 495 h 4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796" h="496">
                      <a:moveTo>
                        <a:pt x="60" y="406"/>
                      </a:moveTo>
                      <a:lnTo>
                        <a:pt x="66" y="407"/>
                      </a:lnTo>
                      <a:lnTo>
                        <a:pt x="73" y="410"/>
                      </a:lnTo>
                      <a:lnTo>
                        <a:pt x="78" y="413"/>
                      </a:lnTo>
                      <a:lnTo>
                        <a:pt x="83" y="417"/>
                      </a:lnTo>
                      <a:lnTo>
                        <a:pt x="83" y="417"/>
                      </a:lnTo>
                      <a:lnTo>
                        <a:pt x="83" y="417"/>
                      </a:lnTo>
                      <a:lnTo>
                        <a:pt x="83" y="417"/>
                      </a:lnTo>
                      <a:lnTo>
                        <a:pt x="83" y="417"/>
                      </a:lnTo>
                      <a:lnTo>
                        <a:pt x="86" y="421"/>
                      </a:lnTo>
                      <a:lnTo>
                        <a:pt x="88" y="426"/>
                      </a:lnTo>
                      <a:lnTo>
                        <a:pt x="89" y="431"/>
                      </a:lnTo>
                      <a:lnTo>
                        <a:pt x="90" y="436"/>
                      </a:lnTo>
                      <a:lnTo>
                        <a:pt x="89" y="443"/>
                      </a:lnTo>
                      <a:lnTo>
                        <a:pt x="88" y="448"/>
                      </a:lnTo>
                      <a:lnTo>
                        <a:pt x="85" y="453"/>
                      </a:lnTo>
                      <a:lnTo>
                        <a:pt x="81" y="458"/>
                      </a:lnTo>
                      <a:lnTo>
                        <a:pt x="76" y="461"/>
                      </a:lnTo>
                      <a:lnTo>
                        <a:pt x="72" y="464"/>
                      </a:lnTo>
                      <a:lnTo>
                        <a:pt x="65" y="466"/>
                      </a:lnTo>
                      <a:lnTo>
                        <a:pt x="60" y="466"/>
                      </a:lnTo>
                      <a:lnTo>
                        <a:pt x="54" y="466"/>
                      </a:lnTo>
                      <a:lnTo>
                        <a:pt x="48" y="464"/>
                      </a:lnTo>
                      <a:lnTo>
                        <a:pt x="43" y="461"/>
                      </a:lnTo>
                      <a:lnTo>
                        <a:pt x="39" y="458"/>
                      </a:lnTo>
                      <a:lnTo>
                        <a:pt x="34" y="453"/>
                      </a:lnTo>
                      <a:lnTo>
                        <a:pt x="32" y="448"/>
                      </a:lnTo>
                      <a:lnTo>
                        <a:pt x="30" y="443"/>
                      </a:lnTo>
                      <a:lnTo>
                        <a:pt x="30" y="436"/>
                      </a:lnTo>
                      <a:lnTo>
                        <a:pt x="30" y="430"/>
                      </a:lnTo>
                      <a:lnTo>
                        <a:pt x="32" y="425"/>
                      </a:lnTo>
                      <a:lnTo>
                        <a:pt x="34" y="419"/>
                      </a:lnTo>
                      <a:lnTo>
                        <a:pt x="39" y="415"/>
                      </a:lnTo>
                      <a:lnTo>
                        <a:pt x="43" y="412"/>
                      </a:lnTo>
                      <a:lnTo>
                        <a:pt x="48" y="409"/>
                      </a:lnTo>
                      <a:lnTo>
                        <a:pt x="54" y="407"/>
                      </a:lnTo>
                      <a:lnTo>
                        <a:pt x="60" y="406"/>
                      </a:lnTo>
                      <a:lnTo>
                        <a:pt x="60" y="406"/>
                      </a:lnTo>
                      <a:close/>
                      <a:moveTo>
                        <a:pt x="285" y="211"/>
                      </a:moveTo>
                      <a:lnTo>
                        <a:pt x="291" y="211"/>
                      </a:lnTo>
                      <a:lnTo>
                        <a:pt x="297" y="214"/>
                      </a:lnTo>
                      <a:lnTo>
                        <a:pt x="302" y="216"/>
                      </a:lnTo>
                      <a:lnTo>
                        <a:pt x="306" y="220"/>
                      </a:lnTo>
                      <a:lnTo>
                        <a:pt x="311" y="224"/>
                      </a:lnTo>
                      <a:lnTo>
                        <a:pt x="313" y="230"/>
                      </a:lnTo>
                      <a:lnTo>
                        <a:pt x="315" y="235"/>
                      </a:lnTo>
                      <a:lnTo>
                        <a:pt x="315" y="241"/>
                      </a:lnTo>
                      <a:lnTo>
                        <a:pt x="315" y="247"/>
                      </a:lnTo>
                      <a:lnTo>
                        <a:pt x="313" y="253"/>
                      </a:lnTo>
                      <a:lnTo>
                        <a:pt x="311" y="257"/>
                      </a:lnTo>
                      <a:lnTo>
                        <a:pt x="306" y="262"/>
                      </a:lnTo>
                      <a:lnTo>
                        <a:pt x="302" y="266"/>
                      </a:lnTo>
                      <a:lnTo>
                        <a:pt x="297" y="268"/>
                      </a:lnTo>
                      <a:lnTo>
                        <a:pt x="291" y="270"/>
                      </a:lnTo>
                      <a:lnTo>
                        <a:pt x="285" y="271"/>
                      </a:lnTo>
                      <a:lnTo>
                        <a:pt x="280" y="270"/>
                      </a:lnTo>
                      <a:lnTo>
                        <a:pt x="273" y="268"/>
                      </a:lnTo>
                      <a:lnTo>
                        <a:pt x="269" y="266"/>
                      </a:lnTo>
                      <a:lnTo>
                        <a:pt x="264" y="262"/>
                      </a:lnTo>
                      <a:lnTo>
                        <a:pt x="260" y="257"/>
                      </a:lnTo>
                      <a:lnTo>
                        <a:pt x="257" y="253"/>
                      </a:lnTo>
                      <a:lnTo>
                        <a:pt x="256" y="247"/>
                      </a:lnTo>
                      <a:lnTo>
                        <a:pt x="255" y="241"/>
                      </a:lnTo>
                      <a:lnTo>
                        <a:pt x="256" y="235"/>
                      </a:lnTo>
                      <a:lnTo>
                        <a:pt x="257" y="230"/>
                      </a:lnTo>
                      <a:lnTo>
                        <a:pt x="260" y="224"/>
                      </a:lnTo>
                      <a:lnTo>
                        <a:pt x="264" y="220"/>
                      </a:lnTo>
                      <a:lnTo>
                        <a:pt x="269" y="216"/>
                      </a:lnTo>
                      <a:lnTo>
                        <a:pt x="273" y="214"/>
                      </a:lnTo>
                      <a:lnTo>
                        <a:pt x="280" y="211"/>
                      </a:lnTo>
                      <a:lnTo>
                        <a:pt x="285" y="211"/>
                      </a:lnTo>
                      <a:close/>
                      <a:moveTo>
                        <a:pt x="511" y="301"/>
                      </a:moveTo>
                      <a:lnTo>
                        <a:pt x="516" y="301"/>
                      </a:lnTo>
                      <a:lnTo>
                        <a:pt x="521" y="302"/>
                      </a:lnTo>
                      <a:lnTo>
                        <a:pt x="526" y="306"/>
                      </a:lnTo>
                      <a:lnTo>
                        <a:pt x="530" y="308"/>
                      </a:lnTo>
                      <a:lnTo>
                        <a:pt x="530" y="308"/>
                      </a:lnTo>
                      <a:lnTo>
                        <a:pt x="530" y="308"/>
                      </a:lnTo>
                      <a:lnTo>
                        <a:pt x="530" y="308"/>
                      </a:lnTo>
                      <a:lnTo>
                        <a:pt x="530" y="308"/>
                      </a:lnTo>
                      <a:lnTo>
                        <a:pt x="535" y="313"/>
                      </a:lnTo>
                      <a:lnTo>
                        <a:pt x="538" y="319"/>
                      </a:lnTo>
                      <a:lnTo>
                        <a:pt x="540" y="325"/>
                      </a:lnTo>
                      <a:lnTo>
                        <a:pt x="541" y="331"/>
                      </a:lnTo>
                      <a:lnTo>
                        <a:pt x="540" y="337"/>
                      </a:lnTo>
                      <a:lnTo>
                        <a:pt x="539" y="343"/>
                      </a:lnTo>
                      <a:lnTo>
                        <a:pt x="536" y="347"/>
                      </a:lnTo>
                      <a:lnTo>
                        <a:pt x="532" y="353"/>
                      </a:lnTo>
                      <a:lnTo>
                        <a:pt x="527" y="356"/>
                      </a:lnTo>
                      <a:lnTo>
                        <a:pt x="523" y="359"/>
                      </a:lnTo>
                      <a:lnTo>
                        <a:pt x="516" y="360"/>
                      </a:lnTo>
                      <a:lnTo>
                        <a:pt x="511" y="361"/>
                      </a:lnTo>
                      <a:lnTo>
                        <a:pt x="505" y="360"/>
                      </a:lnTo>
                      <a:lnTo>
                        <a:pt x="499" y="359"/>
                      </a:lnTo>
                      <a:lnTo>
                        <a:pt x="494" y="356"/>
                      </a:lnTo>
                      <a:lnTo>
                        <a:pt x="490" y="353"/>
                      </a:lnTo>
                      <a:lnTo>
                        <a:pt x="486" y="349"/>
                      </a:lnTo>
                      <a:lnTo>
                        <a:pt x="483" y="343"/>
                      </a:lnTo>
                      <a:lnTo>
                        <a:pt x="481" y="337"/>
                      </a:lnTo>
                      <a:lnTo>
                        <a:pt x="481" y="331"/>
                      </a:lnTo>
                      <a:lnTo>
                        <a:pt x="481" y="325"/>
                      </a:lnTo>
                      <a:lnTo>
                        <a:pt x="483" y="320"/>
                      </a:lnTo>
                      <a:lnTo>
                        <a:pt x="486" y="314"/>
                      </a:lnTo>
                      <a:lnTo>
                        <a:pt x="490" y="310"/>
                      </a:lnTo>
                      <a:lnTo>
                        <a:pt x="494" y="307"/>
                      </a:lnTo>
                      <a:lnTo>
                        <a:pt x="499" y="304"/>
                      </a:lnTo>
                      <a:lnTo>
                        <a:pt x="505" y="301"/>
                      </a:lnTo>
                      <a:lnTo>
                        <a:pt x="511" y="301"/>
                      </a:lnTo>
                      <a:lnTo>
                        <a:pt x="511" y="301"/>
                      </a:lnTo>
                      <a:close/>
                      <a:moveTo>
                        <a:pt x="736" y="30"/>
                      </a:moveTo>
                      <a:lnTo>
                        <a:pt x="742" y="31"/>
                      </a:lnTo>
                      <a:lnTo>
                        <a:pt x="748" y="33"/>
                      </a:lnTo>
                      <a:lnTo>
                        <a:pt x="753" y="36"/>
                      </a:lnTo>
                      <a:lnTo>
                        <a:pt x="757" y="39"/>
                      </a:lnTo>
                      <a:lnTo>
                        <a:pt x="762" y="43"/>
                      </a:lnTo>
                      <a:lnTo>
                        <a:pt x="764" y="49"/>
                      </a:lnTo>
                      <a:lnTo>
                        <a:pt x="766" y="55"/>
                      </a:lnTo>
                      <a:lnTo>
                        <a:pt x="766" y="60"/>
                      </a:lnTo>
                      <a:lnTo>
                        <a:pt x="766" y="67"/>
                      </a:lnTo>
                      <a:lnTo>
                        <a:pt x="764" y="72"/>
                      </a:lnTo>
                      <a:lnTo>
                        <a:pt x="762" y="78"/>
                      </a:lnTo>
                      <a:lnTo>
                        <a:pt x="757" y="82"/>
                      </a:lnTo>
                      <a:lnTo>
                        <a:pt x="753" y="85"/>
                      </a:lnTo>
                      <a:lnTo>
                        <a:pt x="748" y="88"/>
                      </a:lnTo>
                      <a:lnTo>
                        <a:pt x="742" y="90"/>
                      </a:lnTo>
                      <a:lnTo>
                        <a:pt x="736" y="90"/>
                      </a:lnTo>
                      <a:lnTo>
                        <a:pt x="731" y="90"/>
                      </a:lnTo>
                      <a:lnTo>
                        <a:pt x="724" y="88"/>
                      </a:lnTo>
                      <a:lnTo>
                        <a:pt x="720" y="85"/>
                      </a:lnTo>
                      <a:lnTo>
                        <a:pt x="716" y="82"/>
                      </a:lnTo>
                      <a:lnTo>
                        <a:pt x="711" y="78"/>
                      </a:lnTo>
                      <a:lnTo>
                        <a:pt x="708" y="72"/>
                      </a:lnTo>
                      <a:lnTo>
                        <a:pt x="707" y="67"/>
                      </a:lnTo>
                      <a:lnTo>
                        <a:pt x="706" y="60"/>
                      </a:lnTo>
                      <a:lnTo>
                        <a:pt x="707" y="55"/>
                      </a:lnTo>
                      <a:lnTo>
                        <a:pt x="708" y="49"/>
                      </a:lnTo>
                      <a:lnTo>
                        <a:pt x="711" y="43"/>
                      </a:lnTo>
                      <a:lnTo>
                        <a:pt x="716" y="39"/>
                      </a:lnTo>
                      <a:lnTo>
                        <a:pt x="720" y="36"/>
                      </a:lnTo>
                      <a:lnTo>
                        <a:pt x="724" y="33"/>
                      </a:lnTo>
                      <a:lnTo>
                        <a:pt x="731" y="31"/>
                      </a:lnTo>
                      <a:lnTo>
                        <a:pt x="736" y="30"/>
                      </a:lnTo>
                      <a:lnTo>
                        <a:pt x="736" y="30"/>
                      </a:lnTo>
                      <a:close/>
                      <a:moveTo>
                        <a:pt x="60" y="496"/>
                      </a:moveTo>
                      <a:lnTo>
                        <a:pt x="66" y="496"/>
                      </a:lnTo>
                      <a:lnTo>
                        <a:pt x="72" y="495"/>
                      </a:lnTo>
                      <a:lnTo>
                        <a:pt x="77" y="494"/>
                      </a:lnTo>
                      <a:lnTo>
                        <a:pt x="84" y="492"/>
                      </a:lnTo>
                      <a:lnTo>
                        <a:pt x="89" y="489"/>
                      </a:lnTo>
                      <a:lnTo>
                        <a:pt x="93" y="487"/>
                      </a:lnTo>
                      <a:lnTo>
                        <a:pt x="98" y="482"/>
                      </a:lnTo>
                      <a:lnTo>
                        <a:pt x="102" y="479"/>
                      </a:lnTo>
                      <a:lnTo>
                        <a:pt x="106" y="475"/>
                      </a:lnTo>
                      <a:lnTo>
                        <a:pt x="109" y="470"/>
                      </a:lnTo>
                      <a:lnTo>
                        <a:pt x="113" y="465"/>
                      </a:lnTo>
                      <a:lnTo>
                        <a:pt x="115" y="460"/>
                      </a:lnTo>
                      <a:lnTo>
                        <a:pt x="117" y="455"/>
                      </a:lnTo>
                      <a:lnTo>
                        <a:pt x="119" y="448"/>
                      </a:lnTo>
                      <a:lnTo>
                        <a:pt x="120" y="443"/>
                      </a:lnTo>
                      <a:lnTo>
                        <a:pt x="120" y="436"/>
                      </a:lnTo>
                      <a:lnTo>
                        <a:pt x="119" y="429"/>
                      </a:lnTo>
                      <a:lnTo>
                        <a:pt x="118" y="422"/>
                      </a:lnTo>
                      <a:lnTo>
                        <a:pt x="116" y="416"/>
                      </a:lnTo>
                      <a:lnTo>
                        <a:pt x="114" y="410"/>
                      </a:lnTo>
                      <a:lnTo>
                        <a:pt x="251" y="291"/>
                      </a:lnTo>
                      <a:lnTo>
                        <a:pt x="259" y="295"/>
                      </a:lnTo>
                      <a:lnTo>
                        <a:pt x="267" y="298"/>
                      </a:lnTo>
                      <a:lnTo>
                        <a:pt x="276" y="300"/>
                      </a:lnTo>
                      <a:lnTo>
                        <a:pt x="285" y="301"/>
                      </a:lnTo>
                      <a:lnTo>
                        <a:pt x="292" y="300"/>
                      </a:lnTo>
                      <a:lnTo>
                        <a:pt x="300" y="299"/>
                      </a:lnTo>
                      <a:lnTo>
                        <a:pt x="306" y="297"/>
                      </a:lnTo>
                      <a:lnTo>
                        <a:pt x="313" y="294"/>
                      </a:lnTo>
                      <a:lnTo>
                        <a:pt x="318" y="291"/>
                      </a:lnTo>
                      <a:lnTo>
                        <a:pt x="325" y="286"/>
                      </a:lnTo>
                      <a:lnTo>
                        <a:pt x="329" y="282"/>
                      </a:lnTo>
                      <a:lnTo>
                        <a:pt x="333" y="277"/>
                      </a:lnTo>
                      <a:lnTo>
                        <a:pt x="451" y="324"/>
                      </a:lnTo>
                      <a:lnTo>
                        <a:pt x="451" y="327"/>
                      </a:lnTo>
                      <a:lnTo>
                        <a:pt x="451" y="331"/>
                      </a:lnTo>
                      <a:lnTo>
                        <a:pt x="451" y="338"/>
                      </a:lnTo>
                      <a:lnTo>
                        <a:pt x="452" y="343"/>
                      </a:lnTo>
                      <a:lnTo>
                        <a:pt x="453" y="350"/>
                      </a:lnTo>
                      <a:lnTo>
                        <a:pt x="455" y="355"/>
                      </a:lnTo>
                      <a:lnTo>
                        <a:pt x="457" y="360"/>
                      </a:lnTo>
                      <a:lnTo>
                        <a:pt x="461" y="365"/>
                      </a:lnTo>
                      <a:lnTo>
                        <a:pt x="464" y="370"/>
                      </a:lnTo>
                      <a:lnTo>
                        <a:pt x="468" y="374"/>
                      </a:lnTo>
                      <a:lnTo>
                        <a:pt x="472" y="377"/>
                      </a:lnTo>
                      <a:lnTo>
                        <a:pt x="477" y="381"/>
                      </a:lnTo>
                      <a:lnTo>
                        <a:pt x="482" y="384"/>
                      </a:lnTo>
                      <a:lnTo>
                        <a:pt x="487" y="387"/>
                      </a:lnTo>
                      <a:lnTo>
                        <a:pt x="493" y="388"/>
                      </a:lnTo>
                      <a:lnTo>
                        <a:pt x="498" y="390"/>
                      </a:lnTo>
                      <a:lnTo>
                        <a:pt x="505" y="391"/>
                      </a:lnTo>
                      <a:lnTo>
                        <a:pt x="511" y="391"/>
                      </a:lnTo>
                      <a:lnTo>
                        <a:pt x="517" y="391"/>
                      </a:lnTo>
                      <a:lnTo>
                        <a:pt x="523" y="390"/>
                      </a:lnTo>
                      <a:lnTo>
                        <a:pt x="529" y="388"/>
                      </a:lnTo>
                      <a:lnTo>
                        <a:pt x="535" y="387"/>
                      </a:lnTo>
                      <a:lnTo>
                        <a:pt x="540" y="384"/>
                      </a:lnTo>
                      <a:lnTo>
                        <a:pt x="544" y="381"/>
                      </a:lnTo>
                      <a:lnTo>
                        <a:pt x="550" y="377"/>
                      </a:lnTo>
                      <a:lnTo>
                        <a:pt x="554" y="373"/>
                      </a:lnTo>
                      <a:lnTo>
                        <a:pt x="557" y="370"/>
                      </a:lnTo>
                      <a:lnTo>
                        <a:pt x="560" y="365"/>
                      </a:lnTo>
                      <a:lnTo>
                        <a:pt x="564" y="360"/>
                      </a:lnTo>
                      <a:lnTo>
                        <a:pt x="567" y="355"/>
                      </a:lnTo>
                      <a:lnTo>
                        <a:pt x="568" y="350"/>
                      </a:lnTo>
                      <a:lnTo>
                        <a:pt x="570" y="343"/>
                      </a:lnTo>
                      <a:lnTo>
                        <a:pt x="571" y="338"/>
                      </a:lnTo>
                      <a:lnTo>
                        <a:pt x="571" y="331"/>
                      </a:lnTo>
                      <a:lnTo>
                        <a:pt x="570" y="322"/>
                      </a:lnTo>
                      <a:lnTo>
                        <a:pt x="568" y="312"/>
                      </a:lnTo>
                      <a:lnTo>
                        <a:pt x="565" y="304"/>
                      </a:lnTo>
                      <a:lnTo>
                        <a:pt x="559" y="296"/>
                      </a:lnTo>
                      <a:lnTo>
                        <a:pt x="710" y="115"/>
                      </a:lnTo>
                      <a:lnTo>
                        <a:pt x="717" y="117"/>
                      </a:lnTo>
                      <a:lnTo>
                        <a:pt x="723" y="119"/>
                      </a:lnTo>
                      <a:lnTo>
                        <a:pt x="730" y="120"/>
                      </a:lnTo>
                      <a:lnTo>
                        <a:pt x="736" y="120"/>
                      </a:lnTo>
                      <a:lnTo>
                        <a:pt x="742" y="120"/>
                      </a:lnTo>
                      <a:lnTo>
                        <a:pt x="749" y="119"/>
                      </a:lnTo>
                      <a:lnTo>
                        <a:pt x="754" y="118"/>
                      </a:lnTo>
                      <a:lnTo>
                        <a:pt x="760" y="116"/>
                      </a:lnTo>
                      <a:lnTo>
                        <a:pt x="765" y="114"/>
                      </a:lnTo>
                      <a:lnTo>
                        <a:pt x="770" y="111"/>
                      </a:lnTo>
                      <a:lnTo>
                        <a:pt x="775" y="106"/>
                      </a:lnTo>
                      <a:lnTo>
                        <a:pt x="779" y="103"/>
                      </a:lnTo>
                      <a:lnTo>
                        <a:pt x="783" y="99"/>
                      </a:lnTo>
                      <a:lnTo>
                        <a:pt x="786" y="95"/>
                      </a:lnTo>
                      <a:lnTo>
                        <a:pt x="790" y="89"/>
                      </a:lnTo>
                      <a:lnTo>
                        <a:pt x="792" y="84"/>
                      </a:lnTo>
                      <a:lnTo>
                        <a:pt x="794" y="79"/>
                      </a:lnTo>
                      <a:lnTo>
                        <a:pt x="795" y="73"/>
                      </a:lnTo>
                      <a:lnTo>
                        <a:pt x="796" y="67"/>
                      </a:lnTo>
                      <a:lnTo>
                        <a:pt x="796" y="60"/>
                      </a:lnTo>
                      <a:lnTo>
                        <a:pt x="796" y="54"/>
                      </a:lnTo>
                      <a:lnTo>
                        <a:pt x="795" y="49"/>
                      </a:lnTo>
                      <a:lnTo>
                        <a:pt x="794" y="43"/>
                      </a:lnTo>
                      <a:lnTo>
                        <a:pt x="792" y="37"/>
                      </a:lnTo>
                      <a:lnTo>
                        <a:pt x="790" y="31"/>
                      </a:lnTo>
                      <a:lnTo>
                        <a:pt x="786" y="27"/>
                      </a:lnTo>
                      <a:lnTo>
                        <a:pt x="783" y="23"/>
                      </a:lnTo>
                      <a:lnTo>
                        <a:pt x="779" y="19"/>
                      </a:lnTo>
                      <a:lnTo>
                        <a:pt x="775" y="14"/>
                      </a:lnTo>
                      <a:lnTo>
                        <a:pt x="770" y="11"/>
                      </a:lnTo>
                      <a:lnTo>
                        <a:pt x="765" y="8"/>
                      </a:lnTo>
                      <a:lnTo>
                        <a:pt x="760" y="5"/>
                      </a:lnTo>
                      <a:lnTo>
                        <a:pt x="754" y="4"/>
                      </a:lnTo>
                      <a:lnTo>
                        <a:pt x="749" y="1"/>
                      </a:lnTo>
                      <a:lnTo>
                        <a:pt x="742" y="0"/>
                      </a:lnTo>
                      <a:lnTo>
                        <a:pt x="736" y="0"/>
                      </a:lnTo>
                      <a:lnTo>
                        <a:pt x="731" y="0"/>
                      </a:lnTo>
                      <a:lnTo>
                        <a:pt x="724" y="1"/>
                      </a:lnTo>
                      <a:lnTo>
                        <a:pt x="719" y="4"/>
                      </a:lnTo>
                      <a:lnTo>
                        <a:pt x="712" y="5"/>
                      </a:lnTo>
                      <a:lnTo>
                        <a:pt x="708" y="8"/>
                      </a:lnTo>
                      <a:lnTo>
                        <a:pt x="703" y="11"/>
                      </a:lnTo>
                      <a:lnTo>
                        <a:pt x="698" y="14"/>
                      </a:lnTo>
                      <a:lnTo>
                        <a:pt x="694" y="19"/>
                      </a:lnTo>
                      <a:lnTo>
                        <a:pt x="690" y="22"/>
                      </a:lnTo>
                      <a:lnTo>
                        <a:pt x="687" y="27"/>
                      </a:lnTo>
                      <a:lnTo>
                        <a:pt x="683" y="31"/>
                      </a:lnTo>
                      <a:lnTo>
                        <a:pt x="681" y="37"/>
                      </a:lnTo>
                      <a:lnTo>
                        <a:pt x="679" y="43"/>
                      </a:lnTo>
                      <a:lnTo>
                        <a:pt x="677" y="49"/>
                      </a:lnTo>
                      <a:lnTo>
                        <a:pt x="676" y="54"/>
                      </a:lnTo>
                      <a:lnTo>
                        <a:pt x="676" y="60"/>
                      </a:lnTo>
                      <a:lnTo>
                        <a:pt x="677" y="70"/>
                      </a:lnTo>
                      <a:lnTo>
                        <a:pt x="679" y="80"/>
                      </a:lnTo>
                      <a:lnTo>
                        <a:pt x="682" y="88"/>
                      </a:lnTo>
                      <a:lnTo>
                        <a:pt x="688" y="96"/>
                      </a:lnTo>
                      <a:lnTo>
                        <a:pt x="537" y="277"/>
                      </a:lnTo>
                      <a:lnTo>
                        <a:pt x="530" y="275"/>
                      </a:lnTo>
                      <a:lnTo>
                        <a:pt x="524" y="272"/>
                      </a:lnTo>
                      <a:lnTo>
                        <a:pt x="517" y="271"/>
                      </a:lnTo>
                      <a:lnTo>
                        <a:pt x="511" y="271"/>
                      </a:lnTo>
                      <a:lnTo>
                        <a:pt x="504" y="271"/>
                      </a:lnTo>
                      <a:lnTo>
                        <a:pt x="496" y="272"/>
                      </a:lnTo>
                      <a:lnTo>
                        <a:pt x="490" y="275"/>
                      </a:lnTo>
                      <a:lnTo>
                        <a:pt x="483" y="278"/>
                      </a:lnTo>
                      <a:lnTo>
                        <a:pt x="478" y="281"/>
                      </a:lnTo>
                      <a:lnTo>
                        <a:pt x="472" y="285"/>
                      </a:lnTo>
                      <a:lnTo>
                        <a:pt x="467" y="291"/>
                      </a:lnTo>
                      <a:lnTo>
                        <a:pt x="463" y="296"/>
                      </a:lnTo>
                      <a:lnTo>
                        <a:pt x="345" y="249"/>
                      </a:lnTo>
                      <a:lnTo>
                        <a:pt x="345" y="245"/>
                      </a:lnTo>
                      <a:lnTo>
                        <a:pt x="345" y="241"/>
                      </a:lnTo>
                      <a:lnTo>
                        <a:pt x="345" y="235"/>
                      </a:lnTo>
                      <a:lnTo>
                        <a:pt x="344" y="229"/>
                      </a:lnTo>
                      <a:lnTo>
                        <a:pt x="343" y="223"/>
                      </a:lnTo>
                      <a:lnTo>
                        <a:pt x="341" y="218"/>
                      </a:lnTo>
                      <a:lnTo>
                        <a:pt x="339" y="212"/>
                      </a:lnTo>
                      <a:lnTo>
                        <a:pt x="335" y="207"/>
                      </a:lnTo>
                      <a:lnTo>
                        <a:pt x="332" y="203"/>
                      </a:lnTo>
                      <a:lnTo>
                        <a:pt x="328" y="199"/>
                      </a:lnTo>
                      <a:lnTo>
                        <a:pt x="324" y="194"/>
                      </a:lnTo>
                      <a:lnTo>
                        <a:pt x="319" y="191"/>
                      </a:lnTo>
                      <a:lnTo>
                        <a:pt x="314" y="188"/>
                      </a:lnTo>
                      <a:lnTo>
                        <a:pt x="309" y="186"/>
                      </a:lnTo>
                      <a:lnTo>
                        <a:pt x="303" y="184"/>
                      </a:lnTo>
                      <a:lnTo>
                        <a:pt x="298" y="182"/>
                      </a:lnTo>
                      <a:lnTo>
                        <a:pt x="291" y="181"/>
                      </a:lnTo>
                      <a:lnTo>
                        <a:pt x="285" y="180"/>
                      </a:lnTo>
                      <a:lnTo>
                        <a:pt x="280" y="181"/>
                      </a:lnTo>
                      <a:lnTo>
                        <a:pt x="273" y="182"/>
                      </a:lnTo>
                      <a:lnTo>
                        <a:pt x="268" y="184"/>
                      </a:lnTo>
                      <a:lnTo>
                        <a:pt x="261" y="186"/>
                      </a:lnTo>
                      <a:lnTo>
                        <a:pt x="257" y="188"/>
                      </a:lnTo>
                      <a:lnTo>
                        <a:pt x="252" y="191"/>
                      </a:lnTo>
                      <a:lnTo>
                        <a:pt x="247" y="194"/>
                      </a:lnTo>
                      <a:lnTo>
                        <a:pt x="243" y="199"/>
                      </a:lnTo>
                      <a:lnTo>
                        <a:pt x="239" y="203"/>
                      </a:lnTo>
                      <a:lnTo>
                        <a:pt x="236" y="207"/>
                      </a:lnTo>
                      <a:lnTo>
                        <a:pt x="232" y="212"/>
                      </a:lnTo>
                      <a:lnTo>
                        <a:pt x="230" y="218"/>
                      </a:lnTo>
                      <a:lnTo>
                        <a:pt x="228" y="223"/>
                      </a:lnTo>
                      <a:lnTo>
                        <a:pt x="226" y="229"/>
                      </a:lnTo>
                      <a:lnTo>
                        <a:pt x="225" y="235"/>
                      </a:lnTo>
                      <a:lnTo>
                        <a:pt x="225" y="241"/>
                      </a:lnTo>
                      <a:lnTo>
                        <a:pt x="226" y="248"/>
                      </a:lnTo>
                      <a:lnTo>
                        <a:pt x="227" y="255"/>
                      </a:lnTo>
                      <a:lnTo>
                        <a:pt x="229" y="262"/>
                      </a:lnTo>
                      <a:lnTo>
                        <a:pt x="231" y="267"/>
                      </a:lnTo>
                      <a:lnTo>
                        <a:pt x="94" y="387"/>
                      </a:lnTo>
                      <a:lnTo>
                        <a:pt x="86" y="383"/>
                      </a:lnTo>
                      <a:lnTo>
                        <a:pt x="78" y="380"/>
                      </a:lnTo>
                      <a:lnTo>
                        <a:pt x="69" y="377"/>
                      </a:lnTo>
                      <a:lnTo>
                        <a:pt x="60" y="376"/>
                      </a:lnTo>
                      <a:lnTo>
                        <a:pt x="54" y="376"/>
                      </a:lnTo>
                      <a:lnTo>
                        <a:pt x="47" y="377"/>
                      </a:lnTo>
                      <a:lnTo>
                        <a:pt x="42" y="379"/>
                      </a:lnTo>
                      <a:lnTo>
                        <a:pt x="36" y="381"/>
                      </a:lnTo>
                      <a:lnTo>
                        <a:pt x="31" y="384"/>
                      </a:lnTo>
                      <a:lnTo>
                        <a:pt x="26" y="387"/>
                      </a:lnTo>
                      <a:lnTo>
                        <a:pt x="21" y="390"/>
                      </a:lnTo>
                      <a:lnTo>
                        <a:pt x="17" y="394"/>
                      </a:lnTo>
                      <a:lnTo>
                        <a:pt x="13" y="398"/>
                      </a:lnTo>
                      <a:lnTo>
                        <a:pt x="10" y="403"/>
                      </a:lnTo>
                      <a:lnTo>
                        <a:pt x="6" y="407"/>
                      </a:lnTo>
                      <a:lnTo>
                        <a:pt x="4" y="413"/>
                      </a:lnTo>
                      <a:lnTo>
                        <a:pt x="2" y="418"/>
                      </a:lnTo>
                      <a:lnTo>
                        <a:pt x="1" y="425"/>
                      </a:lnTo>
                      <a:lnTo>
                        <a:pt x="0" y="430"/>
                      </a:lnTo>
                      <a:lnTo>
                        <a:pt x="0" y="436"/>
                      </a:lnTo>
                      <a:lnTo>
                        <a:pt x="0" y="443"/>
                      </a:lnTo>
                      <a:lnTo>
                        <a:pt x="1" y="448"/>
                      </a:lnTo>
                      <a:lnTo>
                        <a:pt x="2" y="455"/>
                      </a:lnTo>
                      <a:lnTo>
                        <a:pt x="4" y="460"/>
                      </a:lnTo>
                      <a:lnTo>
                        <a:pt x="6" y="465"/>
                      </a:lnTo>
                      <a:lnTo>
                        <a:pt x="10" y="470"/>
                      </a:lnTo>
                      <a:lnTo>
                        <a:pt x="13" y="475"/>
                      </a:lnTo>
                      <a:lnTo>
                        <a:pt x="17" y="479"/>
                      </a:lnTo>
                      <a:lnTo>
                        <a:pt x="21" y="482"/>
                      </a:lnTo>
                      <a:lnTo>
                        <a:pt x="26" y="487"/>
                      </a:lnTo>
                      <a:lnTo>
                        <a:pt x="31" y="489"/>
                      </a:lnTo>
                      <a:lnTo>
                        <a:pt x="36" y="492"/>
                      </a:lnTo>
                      <a:lnTo>
                        <a:pt x="42" y="494"/>
                      </a:lnTo>
                      <a:lnTo>
                        <a:pt x="47" y="495"/>
                      </a:lnTo>
                      <a:lnTo>
                        <a:pt x="54" y="496"/>
                      </a:lnTo>
                      <a:lnTo>
                        <a:pt x="60" y="49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</p:grpSp>
        </p:grpSp>
        <p:sp>
          <p:nvSpPr>
            <p:cNvPr id="14" name="ïṩ1iďè">
              <a:extLst>
                <a:ext uri="{FF2B5EF4-FFF2-40B4-BE49-F238E27FC236}">
                  <a16:creationId xmlns:a16="http://schemas.microsoft.com/office/drawing/2014/main" id="{F8ACF02D-E543-43E6-AB78-7D9EB47EDB16}"/>
                </a:ext>
              </a:extLst>
            </p:cNvPr>
            <p:cNvSpPr txBox="1"/>
            <p:nvPr/>
          </p:nvSpPr>
          <p:spPr>
            <a:xfrm>
              <a:off x="673100" y="3129835"/>
              <a:ext cx="3220718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1440" tIns="45720" rIns="91440" bIns="45720" anchor="ctr" anchorCtr="0">
              <a:normAutofit lnSpcReduction="10000"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教学体系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5" name="íSļide">
              <a:extLst>
                <a:ext uri="{FF2B5EF4-FFF2-40B4-BE49-F238E27FC236}">
                  <a16:creationId xmlns:a16="http://schemas.microsoft.com/office/drawing/2014/main" id="{5C7019DB-7023-4C2E-A5CF-ED5C29171A8F}"/>
                </a:ext>
              </a:extLst>
            </p:cNvPr>
            <p:cNvSpPr txBox="1"/>
            <p:nvPr/>
          </p:nvSpPr>
          <p:spPr>
            <a:xfrm>
              <a:off x="673100" y="3522347"/>
              <a:ext cx="3220718" cy="624918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6" name="ïṡliḑê">
              <a:extLst>
                <a:ext uri="{FF2B5EF4-FFF2-40B4-BE49-F238E27FC236}">
                  <a16:creationId xmlns:a16="http://schemas.microsoft.com/office/drawing/2014/main" id="{658C06DF-D6FC-4BD2-BF27-A9C6AA8ECE7A}"/>
                </a:ext>
              </a:extLst>
            </p:cNvPr>
            <p:cNvSpPr/>
            <p:nvPr/>
          </p:nvSpPr>
          <p:spPr>
            <a:xfrm>
              <a:off x="2778448" y="1474850"/>
              <a:ext cx="576000" cy="576000"/>
            </a:xfrm>
            <a:prstGeom prst="ellipse">
              <a:avLst/>
            </a:prstGeom>
            <a:solidFill>
              <a:schemeClr val="bg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wrap="none" lIns="91440" tIns="45720" rIns="91440" bIns="45720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01</a:t>
              </a:r>
            </a:p>
          </p:txBody>
        </p:sp>
        <p:sp>
          <p:nvSpPr>
            <p:cNvPr id="17" name="ïsļîḋè">
              <a:extLst>
                <a:ext uri="{FF2B5EF4-FFF2-40B4-BE49-F238E27FC236}">
                  <a16:creationId xmlns:a16="http://schemas.microsoft.com/office/drawing/2014/main" id="{BD403B49-41ED-41CC-9566-5949944DEEEF}"/>
                </a:ext>
              </a:extLst>
            </p:cNvPr>
            <p:cNvSpPr/>
            <p:nvPr/>
          </p:nvSpPr>
          <p:spPr>
            <a:xfrm>
              <a:off x="2778448" y="5211051"/>
              <a:ext cx="576000" cy="576000"/>
            </a:xfrm>
            <a:prstGeom prst="ellipse">
              <a:avLst/>
            </a:prstGeom>
            <a:solidFill>
              <a:schemeClr val="bg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wrap="none" lIns="91440" tIns="45720" rIns="91440" bIns="45720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0</a:t>
              </a: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3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0" name="ïṣḻidé">
              <a:extLst>
                <a:ext uri="{FF2B5EF4-FFF2-40B4-BE49-F238E27FC236}">
                  <a16:creationId xmlns:a16="http://schemas.microsoft.com/office/drawing/2014/main" id="{E34DE167-152D-443C-B24C-0AC8F61A2585}"/>
                </a:ext>
              </a:extLst>
            </p:cNvPr>
            <p:cNvSpPr txBox="1"/>
            <p:nvPr/>
          </p:nvSpPr>
          <p:spPr>
            <a:xfrm>
              <a:off x="3893818" y="1474850"/>
              <a:ext cx="7626670" cy="624918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资源的整合挖掘</a:t>
              </a:r>
              <a:endPara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  <a:p>
              <a:pPr marL="457200" marR="0" lvl="1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——</a:t>
              </a: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工程训练系列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1" name="íṡlïḓe">
              <a:extLst>
                <a:ext uri="{FF2B5EF4-FFF2-40B4-BE49-F238E27FC236}">
                  <a16:creationId xmlns:a16="http://schemas.microsoft.com/office/drawing/2014/main" id="{62C4283B-AFC3-4A1F-BB3A-664F16F1D0BC}"/>
                </a:ext>
              </a:extLst>
            </p:cNvPr>
            <p:cNvSpPr txBox="1"/>
            <p:nvPr/>
          </p:nvSpPr>
          <p:spPr>
            <a:xfrm>
              <a:off x="4670972" y="3314292"/>
              <a:ext cx="6826778" cy="624918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资源开放</a:t>
              </a:r>
              <a:endPara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——</a:t>
              </a: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创新创业系列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3" name="iślîḋe">
              <a:extLst>
                <a:ext uri="{FF2B5EF4-FFF2-40B4-BE49-F238E27FC236}">
                  <a16:creationId xmlns:a16="http://schemas.microsoft.com/office/drawing/2014/main" id="{A26F2622-828A-46F0-BC1F-57099B710462}"/>
                </a:ext>
              </a:extLst>
            </p:cNvPr>
            <p:cNvSpPr txBox="1"/>
            <p:nvPr/>
          </p:nvSpPr>
          <p:spPr>
            <a:xfrm>
              <a:off x="3893818" y="5211051"/>
              <a:ext cx="7626670" cy="624918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资源拓展</a:t>
              </a:r>
              <a:endPara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——</a:t>
              </a: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工程文化教育系列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</p:grpSp>
      <p:sp>
        <p:nvSpPr>
          <p:cNvPr id="38" name="ïṡliḑê">
            <a:extLst>
              <a:ext uri="{FF2B5EF4-FFF2-40B4-BE49-F238E27FC236}">
                <a16:creationId xmlns:a16="http://schemas.microsoft.com/office/drawing/2014/main" id="{099D7EC3-FE2C-486D-8D98-0522CB1D9026}"/>
              </a:ext>
            </a:extLst>
          </p:cNvPr>
          <p:cNvSpPr/>
          <p:nvPr/>
        </p:nvSpPr>
        <p:spPr>
          <a:xfrm>
            <a:off x="4046566" y="3300452"/>
            <a:ext cx="576000" cy="576000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wrap="none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0</a:t>
            </a: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2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24129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D205B11-9C84-4762-B6A3-330DBCE74D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64071177-430C-41F7-9E11-48D71B5749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220" y="204775"/>
            <a:ext cx="9290307" cy="6358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4482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1B48DBE-EB73-4C31-AD52-FA135BD921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58390" y="1600201"/>
            <a:ext cx="7475220" cy="202889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altLang="zh-CN" sz="6000" cap="small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Center</a:t>
            </a:r>
            <a:r>
              <a:rPr lang="zh-CN" altLang="en-US" sz="6000" cap="small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足</a:t>
            </a:r>
            <a:endParaRPr lang="zh-CN" altLang="en-US" sz="6000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E746FE19-204A-4A6D-A85C-7F797D5288B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31841071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D410AE-74CF-4478-8F81-1103C2AD0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1.</a:t>
            </a:r>
            <a:r>
              <a:rPr lang="zh-CN" altLang="zh-CN" dirty="0" smtClean="0"/>
              <a:t>开放性不足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F7140AC-8498-4EC9-AE41-5F181429ED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3003" y="2057400"/>
            <a:ext cx="9328636" cy="4038600"/>
          </a:xfrm>
        </p:spPr>
        <p:txBody>
          <a:bodyPr>
            <a:normAutofit/>
          </a:bodyPr>
          <a:lstStyle/>
          <a:p>
            <a:r>
              <a:rPr lang="zh-CN" altLang="zh-CN" sz="2400" dirty="0"/>
              <a:t>由于</a:t>
            </a:r>
            <a:r>
              <a:rPr lang="en-US" altLang="zh-CN" sz="2400" dirty="0"/>
              <a:t>iCenter</a:t>
            </a:r>
            <a:r>
              <a:rPr lang="zh-CN" altLang="zh-CN" sz="2400" dirty="0"/>
              <a:t>的宣传工作不足、设备使用门槛高等原因，导致虽然</a:t>
            </a:r>
            <a:r>
              <a:rPr lang="en-US" altLang="zh-CN" sz="2400" dirty="0"/>
              <a:t>iCenter</a:t>
            </a:r>
            <a:r>
              <a:rPr lang="zh-CN" altLang="zh-CN" sz="2400" dirty="0"/>
              <a:t>资源丰富，但仍有大量同学难以接触到</a:t>
            </a:r>
            <a:r>
              <a:rPr lang="en-US" altLang="zh-CN" sz="2400" dirty="0"/>
              <a:t>iCenter</a:t>
            </a:r>
            <a:r>
              <a:rPr lang="zh-CN" altLang="zh-CN" sz="2400" dirty="0"/>
              <a:t>的资源。这不仅使得</a:t>
            </a:r>
            <a:r>
              <a:rPr lang="en-US" altLang="zh-CN" sz="2400" dirty="0"/>
              <a:t>iCenter</a:t>
            </a:r>
            <a:r>
              <a:rPr lang="zh-CN" altLang="zh-CN" sz="2400" dirty="0"/>
              <a:t>的进一步发展受阻，还使得大量清华同学浪费了重要的学习机会，造成了资源的浪费。因此我们有必要扩大</a:t>
            </a:r>
            <a:r>
              <a:rPr lang="en-US" altLang="zh-CN" sz="2400" dirty="0"/>
              <a:t>iCenter</a:t>
            </a:r>
            <a:r>
              <a:rPr lang="zh-CN" altLang="zh-CN" sz="2400" dirty="0"/>
              <a:t>的开放性，提高各项资源的利用率，促进</a:t>
            </a:r>
            <a:r>
              <a:rPr lang="en-US" altLang="zh-CN" sz="2400" dirty="0"/>
              <a:t>iCenter</a:t>
            </a:r>
            <a:r>
              <a:rPr lang="zh-CN" altLang="zh-CN" sz="2400" dirty="0"/>
              <a:t>本身与清华师生双向发展</a:t>
            </a:r>
            <a:r>
              <a:rPr lang="zh-CN" altLang="zh-CN" sz="2400" dirty="0" smtClean="0"/>
              <a:t>。</a:t>
            </a:r>
            <a:endParaRPr lang="en-US" altLang="zh-CN" sz="2400" dirty="0" smtClean="0"/>
          </a:p>
          <a:p>
            <a:r>
              <a:rPr lang="zh-CN" altLang="en-US" sz="2400" dirty="0" smtClean="0"/>
              <a:t>佐证：</a:t>
            </a:r>
            <a:r>
              <a:rPr lang="en-US" altLang="zh-CN" sz="2400" dirty="0" smtClean="0"/>
              <a:t>iCenter</a:t>
            </a:r>
            <a:r>
              <a:rPr lang="zh-CN" altLang="en-US" sz="2400" dirty="0" smtClean="0"/>
              <a:t>的资源基本上持开放状态，但是所需知识的培训、资源的使用方式、资源如何利用等相关内容似乎不够完善，导致很多同学望而却步，造成资源浪费。</a:t>
            </a:r>
            <a:endParaRPr lang="zh-CN" altLang="zh-CN" sz="2400" dirty="0"/>
          </a:p>
        </p:txBody>
      </p:sp>
    </p:spTree>
    <p:extLst>
      <p:ext uri="{BB962C8B-B14F-4D97-AF65-F5344CB8AC3E}">
        <p14:creationId xmlns:p14="http://schemas.microsoft.com/office/powerpoint/2010/main" val="331090160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D410AE-74CF-4478-8F81-1103C2AD0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2.</a:t>
            </a:r>
            <a:r>
              <a:rPr lang="zh-CN" altLang="en-US" dirty="0" smtClean="0"/>
              <a:t>课程</a:t>
            </a:r>
            <a:r>
              <a:rPr lang="zh-CN" altLang="en-US" dirty="0"/>
              <a:t>层次性不足 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F7140AC-8498-4EC9-AE41-5F181429ED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3002" y="2057400"/>
            <a:ext cx="9671535" cy="4038600"/>
          </a:xfrm>
        </p:spPr>
        <p:txBody>
          <a:bodyPr>
            <a:normAutofit/>
          </a:bodyPr>
          <a:lstStyle/>
          <a:p>
            <a:r>
              <a:rPr lang="zh-CN" altLang="en-US" sz="2400" dirty="0" smtClean="0"/>
              <a:t>背景：</a:t>
            </a:r>
            <a:r>
              <a:rPr lang="en-US" altLang="zh-CN" sz="2400" dirty="0"/>
              <a:t>1.</a:t>
            </a:r>
            <a:r>
              <a:rPr lang="zh-CN" altLang="en-US" sz="2400" dirty="0"/>
              <a:t>每位同学的水平层次不同。     </a:t>
            </a:r>
          </a:p>
          <a:p>
            <a:pPr marL="34290" indent="0">
              <a:buNone/>
            </a:pPr>
            <a:r>
              <a:rPr lang="en-US" altLang="zh-CN" sz="2400" dirty="0" smtClean="0"/>
              <a:t>             2</a:t>
            </a:r>
            <a:r>
              <a:rPr lang="en-US" altLang="zh-CN" sz="2400" dirty="0"/>
              <a:t>.</a:t>
            </a:r>
            <a:r>
              <a:rPr lang="zh-CN" altLang="en-US" sz="2400" dirty="0"/>
              <a:t>因材施教会带来更好的效果。</a:t>
            </a:r>
          </a:p>
          <a:p>
            <a:pPr marL="34290" indent="0">
              <a:buNone/>
            </a:pPr>
            <a:r>
              <a:rPr lang="en-US" altLang="zh-CN" sz="2400" dirty="0" smtClean="0"/>
              <a:t>             3.icenter</a:t>
            </a:r>
            <a:r>
              <a:rPr lang="zh-CN" altLang="en-US" sz="2400" dirty="0"/>
              <a:t>需要有更丰富的课程层次来帮助每个同学个性化发展。</a:t>
            </a:r>
            <a:endParaRPr lang="en-US" altLang="zh-CN" sz="2400" dirty="0" smtClean="0"/>
          </a:p>
          <a:p>
            <a:r>
              <a:rPr lang="zh-CN" altLang="en-US" sz="2400" dirty="0" smtClean="0"/>
              <a:t>现状：</a:t>
            </a:r>
            <a:r>
              <a:rPr lang="en-US" altLang="zh-CN" sz="2400" dirty="0" smtClean="0"/>
              <a:t>1.</a:t>
            </a:r>
            <a:r>
              <a:rPr lang="zh-CN" altLang="en-US" sz="2400" dirty="0" smtClean="0"/>
              <a:t>现有的</a:t>
            </a:r>
            <a:r>
              <a:rPr lang="en-US" altLang="zh-CN" sz="2400" dirty="0" smtClean="0"/>
              <a:t>iCenter</a:t>
            </a:r>
            <a:r>
              <a:rPr lang="zh-CN" altLang="en-US" sz="2400" dirty="0" smtClean="0"/>
              <a:t>课程体系不够</a:t>
            </a:r>
            <a:endParaRPr lang="en-US" altLang="zh-CN" sz="2400" dirty="0" smtClean="0"/>
          </a:p>
          <a:p>
            <a:pPr marL="34290" indent="0">
              <a:buNone/>
            </a:pPr>
            <a:r>
              <a:rPr lang="en-US" altLang="zh-CN" sz="2400" dirty="0" smtClean="0"/>
              <a:t>             2.</a:t>
            </a:r>
            <a:r>
              <a:rPr lang="zh-CN" altLang="en-US" sz="2400" dirty="0" smtClean="0"/>
              <a:t>课程难度差异较大</a:t>
            </a:r>
            <a:endParaRPr lang="en-US" altLang="zh-CN" sz="2400" dirty="0" smtClean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6" r="-78" b="65001"/>
          <a:stretch/>
        </p:blipFill>
        <p:spPr>
          <a:xfrm>
            <a:off x="5093603" y="3947745"/>
            <a:ext cx="2629776" cy="2338754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99581" y="3947745"/>
            <a:ext cx="3091158" cy="2354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26380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D410AE-74CF-4478-8F81-1103C2AD0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3.</a:t>
            </a:r>
            <a:r>
              <a:rPr lang="zh-CN" altLang="en-US" dirty="0" smtClean="0"/>
              <a:t>产业结构待优化</a:t>
            </a:r>
            <a:r>
              <a:rPr lang="zh-CN" altLang="en-US" dirty="0"/>
              <a:t> 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F7140AC-8498-4EC9-AE41-5F181429ED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3002" y="2057400"/>
            <a:ext cx="9671535" cy="4038600"/>
          </a:xfrm>
        </p:spPr>
        <p:txBody>
          <a:bodyPr>
            <a:normAutofit/>
          </a:bodyPr>
          <a:lstStyle/>
          <a:p>
            <a:r>
              <a:rPr lang="zh-CN" altLang="en-US" sz="2400" dirty="0"/>
              <a:t>基础工业是生产基本生产资料的工业部门的总称。其产品主要服务于重工业。作为“基础工业训练中心”，</a:t>
            </a:r>
            <a:r>
              <a:rPr lang="en-US" altLang="zh-CN" sz="2400" dirty="0" smtClean="0"/>
              <a:t>iCenter</a:t>
            </a:r>
            <a:r>
              <a:rPr lang="zh-CN" altLang="en-US" sz="2400" dirty="0"/>
              <a:t>的工业部门过于集中于机械和智能制造领域，而忽视了具有发展潜力的生物制造等领域。同时，为分散在全球各地的碎片化的信息与碎片化的生产力，</a:t>
            </a:r>
            <a:r>
              <a:rPr lang="en-US" altLang="zh-CN" sz="2400" dirty="0" smtClean="0"/>
              <a:t>iCenter</a:t>
            </a:r>
            <a:r>
              <a:rPr lang="zh-CN" altLang="en-US" sz="2400" dirty="0"/>
              <a:t>缺少集成的产业平台来系统化地调用现有资源。</a:t>
            </a:r>
            <a:endParaRPr lang="en-US" altLang="zh-CN" sz="2400" dirty="0" smtClean="0"/>
          </a:p>
        </p:txBody>
      </p:sp>
    </p:spTree>
    <p:extLst>
      <p:ext uri="{BB962C8B-B14F-4D97-AF65-F5344CB8AC3E}">
        <p14:creationId xmlns:p14="http://schemas.microsoft.com/office/powerpoint/2010/main" val="15320949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1B48DBE-EB73-4C31-AD52-FA135BD921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58390" y="1600201"/>
            <a:ext cx="7475220" cy="202889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zh-CN" altLang="en-US" sz="6000" cap="small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解决方案</a:t>
            </a:r>
            <a:endParaRPr lang="zh-CN" altLang="en-US" sz="6000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E746FE19-204A-4A6D-A85C-7F797D5288B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23851319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1B48DBE-EB73-4C31-AD52-FA135BD921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58390" y="1600201"/>
            <a:ext cx="7475220" cy="202889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zh-CN" altLang="en-US" sz="6000" dirty="0" smtClean="0"/>
              <a:t>作者介绍</a:t>
            </a:r>
            <a:endParaRPr lang="zh-CN" altLang="en-US" sz="6000" dirty="0"/>
          </a:p>
        </p:txBody>
      </p:sp>
      <p:sp>
        <p:nvSpPr>
          <p:cNvPr id="4" name="副标题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7710342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D410AE-74CF-4478-8F81-1103C2AD0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1.</a:t>
            </a:r>
            <a:r>
              <a:rPr lang="zh-CN" altLang="zh-CN" dirty="0"/>
              <a:t>培养创新型的工程</a:t>
            </a:r>
            <a:r>
              <a:rPr lang="zh-CN" altLang="zh-CN" dirty="0" smtClean="0"/>
              <a:t>人才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F7140AC-8498-4EC9-AE41-5F181429ED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3003" y="2057400"/>
            <a:ext cx="9328636" cy="4038600"/>
          </a:xfrm>
        </p:spPr>
        <p:txBody>
          <a:bodyPr>
            <a:normAutofit/>
          </a:bodyPr>
          <a:lstStyle/>
          <a:p>
            <a:r>
              <a:rPr lang="zh-CN" altLang="zh-CN" sz="2400" dirty="0"/>
              <a:t>国外：和企业的合作教育，学生的第二课堂，在企业有一个较长时间的实践锻炼。</a:t>
            </a:r>
            <a:r>
              <a:rPr lang="en-US" altLang="zh-CN" sz="2400" dirty="0"/>
              <a:t>iCenter</a:t>
            </a:r>
            <a:r>
              <a:rPr lang="zh-CN" altLang="zh-CN" sz="2400" dirty="0"/>
              <a:t>应改弥补这一方面的空白。教育演进：唯分数论——课题式研究、研讨课——设计实践教学体系，增强实践教学的目标性与系统性</a:t>
            </a:r>
            <a:endParaRPr lang="zh-CN" altLang="zh-CN" sz="3600" dirty="0"/>
          </a:p>
        </p:txBody>
      </p:sp>
    </p:spTree>
    <p:extLst>
      <p:ext uri="{BB962C8B-B14F-4D97-AF65-F5344CB8AC3E}">
        <p14:creationId xmlns:p14="http://schemas.microsoft.com/office/powerpoint/2010/main" val="91912891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D410AE-74CF-4478-8F81-1103C2AD0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2.</a:t>
            </a:r>
            <a:r>
              <a:rPr lang="zh-CN" altLang="zh-CN" dirty="0"/>
              <a:t>课程和院系合作</a:t>
            </a:r>
            <a:r>
              <a:rPr lang="zh-CN" altLang="zh-CN" dirty="0" smtClean="0"/>
              <a:t>开设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F7140AC-8498-4EC9-AE41-5F181429ED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3003" y="2057400"/>
            <a:ext cx="9328636" cy="4038600"/>
          </a:xfrm>
        </p:spPr>
        <p:txBody>
          <a:bodyPr>
            <a:normAutofit/>
          </a:bodyPr>
          <a:lstStyle/>
          <a:p>
            <a:r>
              <a:rPr lang="zh-CN" altLang="zh-CN" sz="2400" dirty="0"/>
              <a:t>因材施教，以学生的需求和兴趣为导向。举例：对于美院，计算机画图基础较好，机械构造可能不了解，</a:t>
            </a:r>
            <a:r>
              <a:rPr lang="en-US" altLang="zh-CN" sz="2400" dirty="0"/>
              <a:t>3D</a:t>
            </a:r>
            <a:r>
              <a:rPr lang="zh-CN" altLang="zh-CN" sz="2400" dirty="0"/>
              <a:t>打印课程对于他们可以减少对软件的教学，而是对设计思路上的开拓。例如，用</a:t>
            </a:r>
            <a:r>
              <a:rPr lang="en-US" altLang="zh-CN" sz="2400" dirty="0"/>
              <a:t>3D</a:t>
            </a:r>
            <a:r>
              <a:rPr lang="zh-CN" altLang="zh-CN" sz="2400" dirty="0"/>
              <a:t>打印做出复杂的空间结构。对于传统工科院系：在体验传统工艺制造时，可以讲授更多的工艺知识。对于计算机</a:t>
            </a:r>
            <a:r>
              <a:rPr lang="en-US" altLang="zh-CN" sz="2400" dirty="0"/>
              <a:t>/</a:t>
            </a:r>
            <a:r>
              <a:rPr lang="zh-CN" altLang="zh-CN" sz="2400" dirty="0"/>
              <a:t>电子院系：关于智能系统的课程不应该只局限于同学的体验和感受，讲解源代码、系统模型。</a:t>
            </a:r>
          </a:p>
          <a:p>
            <a:r>
              <a:rPr lang="zh-CN" altLang="zh-CN" sz="2400" dirty="0"/>
              <a:t>和院系合作的同时意味着对外部资源的利用，开设内容和相关院系协商，相关院系可以提供实验室等资源，</a:t>
            </a:r>
            <a:r>
              <a:rPr lang="en-US" altLang="zh-CN" sz="2400" dirty="0"/>
              <a:t>iCenter</a:t>
            </a:r>
            <a:r>
              <a:rPr lang="zh-CN" altLang="zh-CN" sz="2400" dirty="0"/>
              <a:t>的概念可以从一个固定实体扩展到每一个参与的院系，每一个参与的个人。</a:t>
            </a:r>
          </a:p>
        </p:txBody>
      </p:sp>
    </p:spTree>
    <p:extLst>
      <p:ext uri="{BB962C8B-B14F-4D97-AF65-F5344CB8AC3E}">
        <p14:creationId xmlns:p14="http://schemas.microsoft.com/office/powerpoint/2010/main" val="189664442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D410AE-74CF-4478-8F81-1103C2AD0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3.</a:t>
            </a:r>
            <a:r>
              <a:rPr lang="zh-CN" altLang="en-US" dirty="0" smtClean="0"/>
              <a:t>课程设置改革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F7140AC-8498-4EC9-AE41-5F181429ED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3003" y="2057400"/>
            <a:ext cx="9328636" cy="4038600"/>
          </a:xfrm>
        </p:spPr>
        <p:txBody>
          <a:bodyPr>
            <a:normAutofit/>
          </a:bodyPr>
          <a:lstStyle/>
          <a:p>
            <a:pPr lvl="0"/>
            <a:r>
              <a:rPr lang="zh-CN" altLang="zh-CN" sz="2400" dirty="0"/>
              <a:t>从</a:t>
            </a:r>
            <a:r>
              <a:rPr lang="en-US" altLang="zh-CN" sz="2400" dirty="0"/>
              <a:t>STEM</a:t>
            </a:r>
            <a:r>
              <a:rPr lang="zh-CN" altLang="zh-CN" sz="2400" dirty="0"/>
              <a:t>基础素质课程、到进阶的</a:t>
            </a:r>
            <a:r>
              <a:rPr lang="en-US" altLang="zh-CN" sz="2400" dirty="0"/>
              <a:t>advanced</a:t>
            </a:r>
            <a:r>
              <a:rPr lang="zh-CN" altLang="zh-CN" sz="2400" dirty="0"/>
              <a:t>课程，再到最终学生的</a:t>
            </a:r>
            <a:r>
              <a:rPr lang="en-US" altLang="zh-CN" sz="2400" dirty="0"/>
              <a:t>project</a:t>
            </a:r>
            <a:r>
              <a:rPr lang="zh-CN" altLang="zh-CN" sz="2400" dirty="0"/>
              <a:t>课程挑战。层层嵌套，上一级的课程为下一层课程做铺垫</a:t>
            </a:r>
          </a:p>
        </p:txBody>
      </p:sp>
    </p:spTree>
    <p:extLst>
      <p:ext uri="{BB962C8B-B14F-4D97-AF65-F5344CB8AC3E}">
        <p14:creationId xmlns:p14="http://schemas.microsoft.com/office/powerpoint/2010/main" val="144146555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D410AE-74CF-4478-8F81-1103C2AD0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4.</a:t>
            </a:r>
            <a:r>
              <a:rPr lang="zh-CN" altLang="en-US" dirty="0" smtClean="0">
                <a:latin typeface="STXinwei" panose="02010800040101010101" pitchFamily="2" charset="-122"/>
                <a:ea typeface="STXinwei" panose="02010800040101010101" pitchFamily="2" charset="-122"/>
              </a:rPr>
              <a:t>采用</a:t>
            </a:r>
            <a:r>
              <a:rPr lang="en-US" altLang="zh-CN" dirty="0" smtClean="0">
                <a:latin typeface="STXinwei" panose="02010800040101010101" pitchFamily="2" charset="-122"/>
                <a:ea typeface="STXinwei" panose="02010800040101010101" pitchFamily="2" charset="-122"/>
              </a:rPr>
              <a:t>VR</a:t>
            </a:r>
            <a:r>
              <a:rPr lang="zh-CN" altLang="en-US" dirty="0" smtClean="0">
                <a:latin typeface="STXinwei" panose="02010800040101010101" pitchFamily="2" charset="-122"/>
                <a:ea typeface="STXinwei" panose="02010800040101010101" pitchFamily="2" charset="-122"/>
              </a:rPr>
              <a:t>、</a:t>
            </a:r>
            <a:r>
              <a:rPr lang="en-US" altLang="zh-CN" dirty="0" smtClean="0">
                <a:latin typeface="STXinwei" panose="02010800040101010101" pitchFamily="2" charset="-122"/>
                <a:ea typeface="STXinwei" panose="02010800040101010101" pitchFamily="2" charset="-122"/>
              </a:rPr>
              <a:t>AR</a:t>
            </a:r>
            <a:r>
              <a:rPr lang="zh-CN" altLang="en-US" dirty="0" smtClean="0">
                <a:latin typeface="STXinwei" panose="02010800040101010101" pitchFamily="2" charset="-122"/>
                <a:ea typeface="STXinwei" panose="02010800040101010101" pitchFamily="2" charset="-122"/>
              </a:rPr>
              <a:t>技术辅助设备学习</a:t>
            </a:r>
            <a:endParaRPr lang="zh-CN" altLang="en-US" dirty="0"/>
          </a:p>
        </p:txBody>
      </p:sp>
      <p:sp>
        <p:nvSpPr>
          <p:cNvPr id="4" name="矩形 3"/>
          <p:cNvSpPr/>
          <p:nvPr/>
        </p:nvSpPr>
        <p:spPr>
          <a:xfrm>
            <a:off x="2641575" y="2221202"/>
            <a:ext cx="44294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此处</a:t>
            </a:r>
            <a:r>
              <a:rPr lang="en-US" altLang="zh-CN" dirty="0"/>
              <a:t>VR</a:t>
            </a:r>
            <a:r>
              <a:rPr lang="zh-CN" altLang="en-US" dirty="0"/>
              <a:t>技术的定义、发展过程、前沿成果</a:t>
            </a:r>
            <a:endParaRPr lang="zh-CN" altLang="en-US" dirty="0"/>
          </a:p>
        </p:txBody>
      </p:sp>
      <p:graphicFrame>
        <p:nvGraphicFramePr>
          <p:cNvPr id="6" name="内容占位符 3">
            <a:extLst>
              <a:ext uri="{FF2B5EF4-FFF2-40B4-BE49-F238E27FC236}">
                <a16:creationId xmlns:a16="http://schemas.microsoft.com/office/drawing/2014/main" id="{912889D7-0757-4281-B20E-4AC488950B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77106570"/>
              </p:ext>
            </p:extLst>
          </p:nvPr>
        </p:nvGraphicFramePr>
        <p:xfrm>
          <a:off x="1143001" y="2725614"/>
          <a:ext cx="8678008" cy="33703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3209207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4580" y="1131094"/>
            <a:ext cx="9023420" cy="994172"/>
          </a:xfrm>
        </p:spPr>
        <p:txBody>
          <a:bodyPr>
            <a:normAutofit/>
          </a:bodyPr>
          <a:lstStyle/>
          <a:p>
            <a:r>
              <a:rPr lang="zh-CN" altLang="en-US" dirty="0" smtClean="0">
                <a:latin typeface="STXinwei" panose="02010800040101010101" pitchFamily="2" charset="-122"/>
                <a:ea typeface="STXinwei" panose="02010800040101010101" pitchFamily="2" charset="-122"/>
              </a:rPr>
              <a:t>    </a:t>
            </a:r>
            <a:r>
              <a:rPr lang="en-US" altLang="zh-CN" dirty="0" smtClean="0">
                <a:latin typeface="STXinwei" panose="02010800040101010101" pitchFamily="2" charset="-122"/>
                <a:ea typeface="STXinwei" panose="02010800040101010101" pitchFamily="2" charset="-122"/>
              </a:rPr>
              <a:t>VR</a:t>
            </a:r>
            <a:r>
              <a:rPr lang="zh-CN" altLang="en-US" dirty="0" smtClean="0">
                <a:latin typeface="STXinwei" panose="02010800040101010101" pitchFamily="2" charset="-122"/>
                <a:ea typeface="STXinwei" panose="02010800040101010101" pitchFamily="2" charset="-122"/>
              </a:rPr>
              <a:t>、</a:t>
            </a:r>
            <a:r>
              <a:rPr lang="en-US" altLang="zh-CN" dirty="0" smtClean="0">
                <a:latin typeface="STXinwei" panose="02010800040101010101" pitchFamily="2" charset="-122"/>
                <a:ea typeface="STXinwei" panose="02010800040101010101" pitchFamily="2" charset="-122"/>
              </a:rPr>
              <a:t>AR</a:t>
            </a:r>
            <a:r>
              <a:rPr lang="zh-CN" altLang="en-US" dirty="0" smtClean="0">
                <a:latin typeface="STXinwei" panose="02010800040101010101" pitchFamily="2" charset="-122"/>
                <a:ea typeface="STXinwei" panose="02010800040101010101" pitchFamily="2" charset="-122"/>
              </a:rPr>
              <a:t>技术辅助设备学习实例</a:t>
            </a:r>
            <a:endParaRPr lang="zh-CN" altLang="en-US" dirty="0">
              <a:latin typeface="STXinwei" panose="02010800040101010101" pitchFamily="2" charset="-122"/>
              <a:ea typeface="STXinwei" panose="02010800040101010101" pitchFamily="2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70048" y="2414017"/>
            <a:ext cx="58399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此处添加在学术搜索引擎搜集到的资料</a:t>
            </a:r>
            <a:endParaRPr lang="en-US" altLang="zh-CN" dirty="0"/>
          </a:p>
          <a:p>
            <a:r>
              <a:rPr lang="en-US" altLang="zh-CN" dirty="0" err="1"/>
              <a:t>Icenter</a:t>
            </a:r>
            <a:r>
              <a:rPr lang="zh-CN" altLang="en-US" dirty="0"/>
              <a:t>已有的</a:t>
            </a:r>
            <a:r>
              <a:rPr lang="en-US" altLang="zh-CN" dirty="0"/>
              <a:t>VR</a:t>
            </a:r>
            <a:r>
              <a:rPr lang="zh-CN" altLang="en-US" dirty="0"/>
              <a:t>应用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7488976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2365818" y="433246"/>
            <a:ext cx="587597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传统方式设备教学的缺陷</a:t>
            </a:r>
            <a:endParaRPr lang="zh-CN" altLang="en-US" sz="3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2344610" y="408924"/>
            <a:ext cx="6311711" cy="22852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1500" dirty="0"/>
          </a:p>
          <a:p>
            <a:pPr marL="257175" indent="-257175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1500" dirty="0"/>
          </a:p>
          <a:p>
            <a:pPr marL="257175" indent="-257175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500" dirty="0"/>
              <a:t>对教师依赖性高；</a:t>
            </a:r>
            <a:endParaRPr lang="en-US" altLang="zh-CN" sz="1500" dirty="0"/>
          </a:p>
          <a:p>
            <a:pPr marL="257175" indent="-257175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500" dirty="0"/>
              <a:t>具有安全隐患</a:t>
            </a:r>
            <a:endParaRPr lang="en-US" altLang="zh-CN" sz="1500" dirty="0"/>
          </a:p>
          <a:p>
            <a:pPr marL="257175" indent="-257175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500" dirty="0"/>
              <a:t>设备教学成本高</a:t>
            </a:r>
            <a:endParaRPr lang="en-US" altLang="zh-CN" sz="1500" dirty="0"/>
          </a:p>
          <a:p>
            <a:pPr marL="257175" indent="-257175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500" dirty="0"/>
              <a:t>课程学习周期长，针对性差</a:t>
            </a:r>
            <a:endParaRPr lang="en-US" altLang="zh-CN" sz="1500" dirty="0"/>
          </a:p>
          <a:p>
            <a:endParaRPr lang="en-US" altLang="zh-CN" sz="1500" dirty="0"/>
          </a:p>
        </p:txBody>
      </p:sp>
      <p:sp>
        <p:nvSpPr>
          <p:cNvPr id="5" name="文本框 2"/>
          <p:cNvSpPr txBox="1"/>
          <p:nvPr/>
        </p:nvSpPr>
        <p:spPr>
          <a:xfrm>
            <a:off x="2326321" y="2024363"/>
            <a:ext cx="8171762" cy="2977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1500" dirty="0"/>
          </a:p>
          <a:p>
            <a:pPr marL="257175" indent="-257175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1500" dirty="0"/>
          </a:p>
          <a:p>
            <a:pPr marL="257175" indent="-257175">
              <a:lnSpc>
                <a:spcPct val="150000"/>
              </a:lnSpc>
            </a:pPr>
            <a:endParaRPr lang="en-US" altLang="zh-CN" sz="1500" dirty="0"/>
          </a:p>
          <a:p>
            <a:pPr marL="257175" indent="-257175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500" dirty="0"/>
              <a:t>减少对教师的依赖，时间灵活</a:t>
            </a:r>
            <a:endParaRPr lang="en-US" altLang="zh-CN" sz="1500" dirty="0"/>
          </a:p>
          <a:p>
            <a:pPr marL="257175" indent="-257175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500" dirty="0"/>
              <a:t>提供具有明确标准的设备使用授权考核机制，短时间内需要获得设备使用资质的创客提供便利</a:t>
            </a:r>
            <a:endParaRPr lang="en-US" altLang="zh-CN" sz="1500" dirty="0"/>
          </a:p>
          <a:p>
            <a:pPr marL="257175" indent="-257175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500" dirty="0"/>
              <a:t>降低设备学习过程中的危险性</a:t>
            </a:r>
            <a:endParaRPr lang="en-US" altLang="zh-CN" sz="1500" dirty="0"/>
          </a:p>
          <a:p>
            <a:pPr marL="257175" indent="-257175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500" dirty="0"/>
              <a:t>降低等本</a:t>
            </a:r>
            <a:endParaRPr lang="en-US" altLang="zh-CN" sz="1500" dirty="0"/>
          </a:p>
          <a:p>
            <a:endParaRPr lang="en-US" altLang="zh-CN" sz="1500" dirty="0"/>
          </a:p>
        </p:txBody>
      </p:sp>
      <p:sp>
        <p:nvSpPr>
          <p:cNvPr id="6" name="文本框 1"/>
          <p:cNvSpPr txBox="1"/>
          <p:nvPr/>
        </p:nvSpPr>
        <p:spPr>
          <a:xfrm>
            <a:off x="2225610" y="2365678"/>
            <a:ext cx="733291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采用</a:t>
            </a:r>
            <a:r>
              <a:rPr lang="en-US" altLang="zh-CN" sz="3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VR</a:t>
            </a:r>
            <a:r>
              <a:rPr lang="zh-CN" altLang="en-US" sz="3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3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R</a:t>
            </a:r>
            <a:r>
              <a:rPr lang="zh-CN" altLang="en-US" sz="3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技术进行设备教学的优势</a:t>
            </a:r>
            <a:endParaRPr lang="zh-CN" altLang="en-US" sz="3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8726759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15268" y="582454"/>
            <a:ext cx="9023420" cy="7074122"/>
          </a:xfrm>
        </p:spPr>
        <p:txBody>
          <a:bodyPr>
            <a:normAutofit/>
          </a:bodyPr>
          <a:lstStyle/>
          <a:p>
            <a:r>
              <a:rPr lang="zh-CN" altLang="en-US" dirty="0" smtClean="0">
                <a:latin typeface="STXinwei" panose="02010800040101010101" pitchFamily="2" charset="-122"/>
                <a:ea typeface="STXinwei" panose="02010800040101010101" pitchFamily="2" charset="-122"/>
              </a:rPr>
              <a:t>具体过程</a:t>
            </a:r>
            <a:r>
              <a:rPr lang="en-US" altLang="zh-CN" dirty="0" smtClean="0">
                <a:latin typeface="STXinwei" panose="02010800040101010101" pitchFamily="2" charset="-122"/>
                <a:ea typeface="STXinwei" panose="02010800040101010101" pitchFamily="2" charset="-122"/>
              </a:rPr>
              <a:t/>
            </a:r>
            <a:br>
              <a:rPr lang="en-US" altLang="zh-CN" dirty="0" smtClean="0">
                <a:latin typeface="STXinwei" panose="02010800040101010101" pitchFamily="2" charset="-122"/>
                <a:ea typeface="STXinwei" panose="02010800040101010101" pitchFamily="2" charset="-122"/>
              </a:rPr>
            </a:br>
            <a:r>
              <a:rPr lang="en-US" altLang="zh-CN" dirty="0" smtClean="0">
                <a:latin typeface="STXinwei" panose="02010800040101010101" pitchFamily="2" charset="-122"/>
                <a:ea typeface="STXinwei" panose="02010800040101010101" pitchFamily="2" charset="-122"/>
              </a:rPr>
              <a:t/>
            </a:r>
            <a:br>
              <a:rPr lang="en-US" altLang="zh-CN" dirty="0" smtClean="0">
                <a:latin typeface="STXinwei" panose="02010800040101010101" pitchFamily="2" charset="-122"/>
                <a:ea typeface="STXinwei" panose="02010800040101010101" pitchFamily="2" charset="-122"/>
              </a:rPr>
            </a:br>
            <a:r>
              <a:rPr lang="zh-CN" altLang="en-US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与科技公司合作，开发</a:t>
            </a: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R</a:t>
            </a:r>
            <a:r>
              <a:rPr lang="zh-CN" altLang="en-US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、</a:t>
            </a: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</a:t>
            </a:r>
            <a:r>
              <a:rPr lang="zh-CN" altLang="en-US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辅助设备</a:t>
            </a: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zh-CN" altLang="en-US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开发可靠的在线评测机制</a:t>
            </a: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zh-CN" altLang="en-US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在平台上配套以相关的慕课进行辅助教学</a:t>
            </a: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zh-CN" altLang="en-US" sz="17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406830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15268" y="582454"/>
            <a:ext cx="9023420" cy="7074122"/>
          </a:xfrm>
        </p:spPr>
        <p:txBody>
          <a:bodyPr>
            <a:normAutofit/>
          </a:bodyPr>
          <a:lstStyle/>
          <a:p>
            <a:r>
              <a:rPr lang="zh-CN" altLang="en-US" dirty="0" smtClean="0">
                <a:latin typeface="STXinwei" panose="02010800040101010101" pitchFamily="2" charset="-122"/>
                <a:ea typeface="STXinwei" panose="02010800040101010101" pitchFamily="2" charset="-122"/>
              </a:rPr>
              <a:t>检验标准：</a:t>
            </a:r>
            <a:r>
              <a:rPr lang="en-US" altLang="zh-CN" dirty="0" smtClean="0">
                <a:latin typeface="STXinwei" panose="02010800040101010101" pitchFamily="2" charset="-122"/>
                <a:ea typeface="STXinwei" panose="02010800040101010101" pitchFamily="2" charset="-122"/>
              </a:rPr>
              <a:t>3</a:t>
            </a:r>
            <a:r>
              <a:rPr lang="zh-CN" altLang="en-US" dirty="0" smtClean="0">
                <a:latin typeface="STXinwei" panose="02010800040101010101" pitchFamily="2" charset="-122"/>
                <a:ea typeface="STXinwei" panose="02010800040101010101" pitchFamily="2" charset="-122"/>
              </a:rPr>
              <a:t>个一</a:t>
            </a:r>
            <a:r>
              <a:rPr lang="en-US" altLang="zh-CN" dirty="0" smtClean="0">
                <a:latin typeface="STXinwei" panose="02010800040101010101" pitchFamily="2" charset="-122"/>
                <a:ea typeface="STXinwei" panose="02010800040101010101" pitchFamily="2" charset="-122"/>
              </a:rPr>
              <a:t/>
            </a:r>
            <a:br>
              <a:rPr lang="en-US" altLang="zh-CN" dirty="0" smtClean="0">
                <a:latin typeface="STXinwei" panose="02010800040101010101" pitchFamily="2" charset="-122"/>
                <a:ea typeface="STXinwei" panose="02010800040101010101" pitchFamily="2" charset="-122"/>
              </a:rPr>
            </a:b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zh-CN" altLang="en-US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一名有工科背景清华学生可以在一天内习得一台设备的使用资质</a:t>
            </a: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altLang="zh-CN" sz="17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zh-CN" altLang="en-US" sz="17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704669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1B48DBE-EB73-4C31-AD52-FA135BD921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58390" y="1600201"/>
            <a:ext cx="7475220" cy="202889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zh-CN" altLang="en-US" sz="6000" cap="small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参考文献</a:t>
            </a:r>
            <a:endParaRPr lang="zh-CN" altLang="en-US" sz="6000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E746FE19-204A-4A6D-A85C-7F797D5288B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239532008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485EFCD-3526-42A4-8CAA-79C7CB0C4F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参考文献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C96BB3C-CAF5-473D-ACB4-E8D15A9B3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9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3CA79D2-EDEA-445D-B7F7-26C003CC159E}"/>
              </a:ext>
            </a:extLst>
          </p:cNvPr>
          <p:cNvSpPr txBox="1"/>
          <p:nvPr/>
        </p:nvSpPr>
        <p:spPr>
          <a:xfrm>
            <a:off x="1034143" y="2505670"/>
            <a:ext cx="959635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[1]</a:t>
            </a:r>
            <a:r>
              <a:rPr lang="zh-CN" altLang="zh-CN" dirty="0"/>
              <a:t>百度文库·工训中心向</a:t>
            </a:r>
            <a:r>
              <a:rPr lang="en-US" altLang="zh-CN" dirty="0" err="1"/>
              <a:t>i</a:t>
            </a:r>
            <a:r>
              <a:rPr lang="en-US" altLang="zh-CN" dirty="0"/>
              <a:t>-Center</a:t>
            </a:r>
            <a:r>
              <a:rPr lang="zh-CN" altLang="zh-CN" dirty="0"/>
              <a:t>转型升级思考和实践·</a:t>
            </a:r>
            <a:r>
              <a:rPr lang="en-US" altLang="zh-CN" dirty="0"/>
              <a:t>[N/OL].(2015-9-14)[2019-10-13]</a:t>
            </a:r>
            <a:endParaRPr lang="zh-CN" altLang="zh-CN" dirty="0"/>
          </a:p>
          <a:p>
            <a:r>
              <a:rPr lang="en-US" altLang="zh-CN" u="sng" dirty="0">
                <a:hlinkClick r:id="rId2"/>
              </a:rPr>
              <a:t>https://wenku.baidu.com/view/06aca9403186bceb19e8bbfa.html</a:t>
            </a:r>
            <a:endParaRPr lang="zh-CN" altLang="zh-CN" dirty="0"/>
          </a:p>
          <a:p>
            <a:r>
              <a:rPr lang="en-US" altLang="zh-CN" dirty="0"/>
              <a:t>[2]</a:t>
            </a:r>
            <a:r>
              <a:rPr lang="zh-CN" altLang="en-US" dirty="0"/>
              <a:t>王秀梅</a:t>
            </a:r>
            <a:r>
              <a:rPr lang="en-US" altLang="zh-CN" dirty="0"/>
              <a:t>. </a:t>
            </a:r>
            <a:r>
              <a:rPr lang="zh-CN" altLang="en-US" dirty="0"/>
              <a:t>工科高校创新人才培养及评价研究</a:t>
            </a:r>
            <a:r>
              <a:rPr lang="en-US" altLang="zh-CN" dirty="0"/>
              <a:t>[D].</a:t>
            </a:r>
            <a:r>
              <a:rPr lang="zh-CN" altLang="en-US" dirty="0"/>
              <a:t>华北电力大学（河北）</a:t>
            </a:r>
            <a:r>
              <a:rPr lang="en-US" altLang="zh-CN" dirty="0"/>
              <a:t>,2009</a:t>
            </a:r>
          </a:p>
        </p:txBody>
      </p:sp>
    </p:spTree>
    <p:extLst>
      <p:ext uri="{BB962C8B-B14F-4D97-AF65-F5344CB8AC3E}">
        <p14:creationId xmlns:p14="http://schemas.microsoft.com/office/powerpoint/2010/main" val="33286903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1B48DBE-EB73-4C31-AD52-FA135BD921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58390" y="1600201"/>
            <a:ext cx="7475220" cy="202889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zh-CN" altLang="en-US" sz="6000" cap="small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逻辑模型</a:t>
            </a:r>
            <a:endParaRPr lang="zh-CN" altLang="en-US" sz="6000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E746FE19-204A-4A6D-A85C-7F797D5288B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b="1" dirty="0" smtClean="0"/>
              <a:t>（此处放逻辑模型截图，待修改，暂不上传）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290984281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1B48DBE-EB73-4C31-AD52-FA135BD921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58390" y="1600201"/>
            <a:ext cx="7475220" cy="202889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zh-CN" altLang="en-US" sz="6000" cap="small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语</a:t>
            </a:r>
            <a:endParaRPr lang="zh-CN" altLang="en-US" sz="6000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E746FE19-204A-4A6D-A85C-7F797D5288B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8711073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1B48DBE-EB73-4C31-AD52-FA135BD921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58390" y="1600201"/>
            <a:ext cx="7475220" cy="2028893"/>
          </a:xfrm>
        </p:spPr>
        <p:txBody>
          <a:bodyPr>
            <a:normAutofit/>
          </a:bodyPr>
          <a:lstStyle/>
          <a:p>
            <a:r>
              <a:rPr lang="en-US" altLang="zh-CN" b="0" dirty="0" err="1"/>
              <a:t>Icenter</a:t>
            </a:r>
            <a:r>
              <a:rPr lang="zh-CN" altLang="en-US" b="0" dirty="0"/>
              <a:t>发展相关工具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E746FE19-204A-4A6D-A85C-7F797D5288B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36301253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A4104A1-9D78-43FF-8229-0FE19417DB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XLP</a:t>
            </a:r>
            <a:r>
              <a:rPr lang="zh-CN" altLang="en-US" dirty="0"/>
              <a:t>出版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3950EE3-3CD1-4949-9B86-B9108DB5D1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6499" y="4816617"/>
            <a:ext cx="6842346" cy="1291031"/>
          </a:xfrm>
        </p:spPr>
        <p:txBody>
          <a:bodyPr>
            <a:normAutofit/>
          </a:bodyPr>
          <a:lstStyle/>
          <a:p>
            <a:pPr marL="34290" indent="0">
              <a:buNone/>
            </a:pPr>
            <a:r>
              <a:rPr lang="en-US" altLang="zh-CN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XLP</a:t>
            </a:r>
            <a:r>
              <a:rPr lang="zh-CN" altLang="en-US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介绍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C27A7AF-93B8-49C2-A213-A3EC32FC84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77936" y="2201591"/>
            <a:ext cx="3810000" cy="2297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5252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A4104A1-9D78-43FF-8229-0FE19417DB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evOps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3950EE3-3CD1-4949-9B86-B9108DB5D1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6499" y="4816617"/>
            <a:ext cx="6842346" cy="1291031"/>
          </a:xfrm>
        </p:spPr>
        <p:txBody>
          <a:bodyPr>
            <a:normAutofit/>
          </a:bodyPr>
          <a:lstStyle/>
          <a:p>
            <a:pPr marL="34290" indent="0">
              <a:buNone/>
            </a:pPr>
            <a:r>
              <a:rPr lang="en-US" altLang="zh-CN" b="1" dirty="0"/>
              <a:t>DevOps</a:t>
            </a:r>
            <a:r>
              <a:rPr lang="en-US" altLang="zh-CN" dirty="0"/>
              <a:t> is a set of practices that automates the processes between software development and IT teams, in order that they can build, test, and release software faster and more reliably. The concept of </a:t>
            </a:r>
            <a:r>
              <a:rPr lang="en-US" altLang="zh-CN" b="1" dirty="0"/>
              <a:t>DevOps</a:t>
            </a:r>
            <a:r>
              <a:rPr lang="en-US" altLang="zh-CN" dirty="0"/>
              <a:t> is founded on building a culture of collaboration between teams that historically functioned in relative siloes.</a:t>
            </a:r>
            <a:endParaRPr lang="zh-CN" altLang="en-US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074" name="Picture 2" descr="Image result for devops">
            <a:extLst>
              <a:ext uri="{FF2B5EF4-FFF2-40B4-BE49-F238E27FC236}">
                <a16:creationId xmlns:a16="http://schemas.microsoft.com/office/drawing/2014/main" id="{3A724418-AD7B-481D-95B6-3B8F99F70C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4358" y="1820052"/>
            <a:ext cx="5823284" cy="2996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8866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A4104A1-9D78-43FF-8229-0FE19417DB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MediaWiki</a:t>
            </a:r>
            <a:endParaRPr lang="en-US" altLang="zh-CN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3950EE3-3CD1-4949-9B86-B9108DB5D1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6499" y="4816617"/>
            <a:ext cx="6842346" cy="1291031"/>
          </a:xfrm>
        </p:spPr>
        <p:txBody>
          <a:bodyPr>
            <a:normAutofit/>
          </a:bodyPr>
          <a:lstStyle/>
          <a:p>
            <a:pPr marL="34290" indent="0">
              <a:buNone/>
            </a:pPr>
            <a:r>
              <a:rPr lang="en-US" altLang="zh-CN" dirty="0"/>
              <a:t>A wiki is a knowledge base website on which users collaboratively modify content and structure directly from the web browser. In a typical wiki, text is written using a simplified markup language and often edited with the help of a rich-text editor. A wiki is run using wiki software, otherwise known as a wiki engine.</a:t>
            </a:r>
            <a:endParaRPr lang="zh-CN" altLang="en-US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050" name="Picture 2" descr="Image result for Wiki">
            <a:extLst>
              <a:ext uri="{FF2B5EF4-FFF2-40B4-BE49-F238E27FC236}">
                <a16:creationId xmlns:a16="http://schemas.microsoft.com/office/drawing/2014/main" id="{23C66CE8-60B4-43F0-B3B5-ABF6DE4ECA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3500" y="2476500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44606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A4104A1-9D78-43FF-8229-0FE19417DB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基于</a:t>
            </a:r>
            <a:r>
              <a:rPr lang="en-US" altLang="zh-CN" dirty="0"/>
              <a:t>Docker</a:t>
            </a:r>
            <a:r>
              <a:rPr lang="zh-CN" altLang="en-US" dirty="0"/>
              <a:t>技术的数据资产备份与回复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3950EE3-3CD1-4949-9B86-B9108DB5D1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6499" y="4816617"/>
            <a:ext cx="6842346" cy="1291031"/>
          </a:xfrm>
        </p:spPr>
        <p:txBody>
          <a:bodyPr>
            <a:normAutofit/>
          </a:bodyPr>
          <a:lstStyle/>
          <a:p>
            <a:pPr marL="34290" indent="0">
              <a:buNone/>
            </a:pPr>
            <a:r>
              <a:rPr lang="en-US" altLang="zh-CN" dirty="0"/>
              <a:t>Docker is a set of platform-as-a-service products that use OS-level virtualization to deliver software in packages called containers. Containers are isolated from one another and bundle their own software, libraries and configuration files; they can communicate with each other through well-defined channels.</a:t>
            </a:r>
            <a:endParaRPr lang="zh-CN" altLang="en-US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76DA9E08-0A3C-47BB-8357-3F4AE95519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1515" y="1687429"/>
            <a:ext cx="3694948" cy="3051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0352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68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206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f24e75f-e597-478e-9e8c-1c342560a79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a4457cd7-beff-4020-a70b-0fbcf7ed79fe"/>
</p:tagLst>
</file>

<file path=ppt/theme/theme1.xml><?xml version="1.0" encoding="utf-8"?>
<a:theme xmlns:a="http://schemas.openxmlformats.org/drawingml/2006/main" name="基础">
  <a:themeElements>
    <a:clrScheme name="蓝绿色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基础">
      <a:fillStyleLst>
        <a:solidFill>
          <a:schemeClr val="phClr"/>
        </a:solidFill>
        <a:solidFill>
          <a:schemeClr val="phClr">
            <a:tint val="55000"/>
            <a:satMod val="13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  <a:satMod val="105000"/>
              </a:schemeClr>
            </a:gs>
            <a:gs pos="100000">
              <a:schemeClr val="phClr">
                <a:shade val="80000"/>
                <a:satMod val="12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5397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27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95000"/>
            <a:satMod val="140000"/>
          </a:schemeClr>
        </a:solidFill>
        <a:solidFill>
          <a:schemeClr val="phClr">
            <a:tint val="90000"/>
            <a:shade val="85000"/>
            <a:satMod val="160000"/>
            <a:lumMod val="11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" id="{5665723A-49BA-4B57-8411-A56F8F207965}" vid="{90E45F77-AEFC-46EF-A7C1-5B338C297B02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4276AA"/>
      </a:accent1>
      <a:accent2>
        <a:srgbClr val="178AA1"/>
      </a:accent2>
      <a:accent3>
        <a:srgbClr val="40A693"/>
      </a:accent3>
      <a:accent4>
        <a:srgbClr val="5268A5"/>
      </a:accent4>
      <a:accent5>
        <a:srgbClr val="5E5CA2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4276AA"/>
    </a:accent1>
    <a:accent2>
      <a:srgbClr val="178AA1"/>
    </a:accent2>
    <a:accent3>
      <a:srgbClr val="40A693"/>
    </a:accent3>
    <a:accent4>
      <a:srgbClr val="5268A5"/>
    </a:accent4>
    <a:accent5>
      <a:srgbClr val="5E5CA2"/>
    </a:accent5>
    <a:accent6>
      <a:srgbClr val="7784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9</TotalTime>
  <Words>1783</Words>
  <Application>Microsoft Office PowerPoint</Application>
  <PresentationFormat>宽屏</PresentationFormat>
  <Paragraphs>186</Paragraphs>
  <Slides>40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0</vt:i4>
      </vt:variant>
    </vt:vector>
  </HeadingPairs>
  <TitlesOfParts>
    <vt:vector size="50" baseType="lpstr">
      <vt:lpstr>等线</vt:lpstr>
      <vt:lpstr>黑体</vt:lpstr>
      <vt:lpstr>华文新魏</vt:lpstr>
      <vt:lpstr>微软雅黑</vt:lpstr>
      <vt:lpstr>Arial</vt:lpstr>
      <vt:lpstr>Corbel</vt:lpstr>
      <vt:lpstr>Wingdings</vt:lpstr>
      <vt:lpstr>基础</vt:lpstr>
      <vt:lpstr>主题5</vt:lpstr>
      <vt:lpstr>think-cell Slide</vt:lpstr>
      <vt:lpstr>封面</vt:lpstr>
      <vt:lpstr>目录 1.作者介绍 2.逻辑模型 3.iCenter发展相关工具 4.背景 5.iCenter现状 6.iCenter不足 7.解决方案 8.参考文献 9.结语</vt:lpstr>
      <vt:lpstr>作者介绍</vt:lpstr>
      <vt:lpstr>逻辑模型</vt:lpstr>
      <vt:lpstr>Icenter发展相关工具</vt:lpstr>
      <vt:lpstr>XLP出版</vt:lpstr>
      <vt:lpstr>DevOps</vt:lpstr>
      <vt:lpstr>MediaWiki</vt:lpstr>
      <vt:lpstr>基于Docker技术的数据资产备份与回复</vt:lpstr>
      <vt:lpstr>背景</vt:lpstr>
      <vt:lpstr>工业的进化 为产品而生</vt:lpstr>
      <vt:lpstr>清华的工业创新产品化的问题</vt:lpstr>
      <vt:lpstr>孵化功能欠缺--借鉴硅谷与斯坦福模式</vt:lpstr>
      <vt:lpstr>PowerPoint 演示文稿</vt:lpstr>
      <vt:lpstr>产业结构缺乏平衡</vt:lpstr>
      <vt:lpstr>科技影响力不足--OEM</vt:lpstr>
      <vt:lpstr>iCenter 转型的必要性</vt:lpstr>
      <vt:lpstr>iCenter现状</vt:lpstr>
      <vt:lpstr>i-Center的功能定位</vt:lpstr>
      <vt:lpstr>功能定位</vt:lpstr>
      <vt:lpstr>PowerPoint 演示文稿</vt:lpstr>
      <vt:lpstr>i-Center的创客精神</vt:lpstr>
      <vt:lpstr>i-Center教学体系</vt:lpstr>
      <vt:lpstr>PowerPoint 演示文稿</vt:lpstr>
      <vt:lpstr>iCenter不足</vt:lpstr>
      <vt:lpstr>1.开放性不足</vt:lpstr>
      <vt:lpstr>2.课程层次性不足 </vt:lpstr>
      <vt:lpstr>3.产业结构待优化 </vt:lpstr>
      <vt:lpstr>解决方案</vt:lpstr>
      <vt:lpstr>1.培养创新型的工程人才</vt:lpstr>
      <vt:lpstr>2.课程和院系合作开设</vt:lpstr>
      <vt:lpstr>3.课程设置改革</vt:lpstr>
      <vt:lpstr>4.采用VR、AR技术辅助设备学习</vt:lpstr>
      <vt:lpstr>    VR、AR技术辅助设备学习实例</vt:lpstr>
      <vt:lpstr>PowerPoint 演示文稿</vt:lpstr>
      <vt:lpstr>具体过程  与科技公司合作，开发VR、AR辅助设备  开发可靠的在线评测机制  在平台上配套以相关的慕课进行辅助教学        </vt:lpstr>
      <vt:lpstr>检验标准：3个一   一名有工科背景清华学生可以在一天内习得一台设备的使用资质      </vt:lpstr>
      <vt:lpstr>参考文献</vt:lpstr>
      <vt:lpstr>参考文献</vt:lpstr>
      <vt:lpstr>结语</vt:lpstr>
    </vt:vector>
  </TitlesOfParts>
  <Company>Chi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Center不足</dc:title>
  <dc:creator>Mr.You</dc:creator>
  <cp:lastModifiedBy>Mr.You</cp:lastModifiedBy>
  <cp:revision>6</cp:revision>
  <dcterms:created xsi:type="dcterms:W3CDTF">2019-10-13T06:54:22Z</dcterms:created>
  <dcterms:modified xsi:type="dcterms:W3CDTF">2019-10-13T07:36:15Z</dcterms:modified>
</cp:coreProperties>
</file>